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Lst>
  <p:notesMasterIdLst>
    <p:notesMasterId r:id="rId28"/>
  </p:notesMasterIdLst>
  <p:handoutMasterIdLst>
    <p:handoutMasterId r:id="rId29"/>
  </p:handoutMasterIdLst>
  <p:sldIdLst>
    <p:sldId id="256" r:id="rId5"/>
    <p:sldId id="261" r:id="rId6"/>
    <p:sldId id="259" r:id="rId7"/>
    <p:sldId id="257" r:id="rId8"/>
    <p:sldId id="2147472241" r:id="rId9"/>
    <p:sldId id="318" r:id="rId10"/>
    <p:sldId id="258" r:id="rId11"/>
    <p:sldId id="2147472223" r:id="rId12"/>
    <p:sldId id="2147472233" r:id="rId13"/>
    <p:sldId id="2147472234" r:id="rId14"/>
    <p:sldId id="2147472236" r:id="rId15"/>
    <p:sldId id="262" r:id="rId16"/>
    <p:sldId id="2147472237" r:id="rId17"/>
    <p:sldId id="2147472238" r:id="rId18"/>
    <p:sldId id="2147472239" r:id="rId19"/>
    <p:sldId id="2147472228" r:id="rId20"/>
    <p:sldId id="323" r:id="rId21"/>
    <p:sldId id="2147472230" r:id="rId22"/>
    <p:sldId id="324" r:id="rId23"/>
    <p:sldId id="319" r:id="rId24"/>
    <p:sldId id="2147472226" r:id="rId25"/>
    <p:sldId id="2147472231" r:id="rId26"/>
    <p:sldId id="321"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3E08"/>
    <a:srgbClr val="E14307"/>
    <a:srgbClr val="D3772B"/>
    <a:srgbClr val="2C77BC"/>
    <a:srgbClr val="FFB163"/>
    <a:srgbClr val="FEC745"/>
    <a:srgbClr val="800000"/>
    <a:srgbClr val="01BCFF"/>
    <a:srgbClr val="E1833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9BEFAD-9512-4473-AE30-E3A881A2A823}" v="180" dt="2023-08-08T04:11:40.374"/>
    <p1510:client id="{5F6AF4D4-9E70-48DC-AFAE-5B0BFBB50D61}" v="12" vWet="16" dt="2023-08-07T21:26:02.295"/>
    <p1510:client id="{6F501D74-210F-4418-B7F5-FD17AB58750E}" v="189" dt="2023-08-07T19:54:32.950"/>
    <p1510:client id="{70836690-86E7-4866-B5A4-0EEE097F66C1}" v="26" dt="2023-08-07T18:49:56.113"/>
    <p1510:client id="{F50E82E2-2533-3C95-5CF3-ED37487E0795}" v="37" dt="2023-08-07T22:22:21.7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villar, Jerry" userId="f6f4cae8-2a2b-4f03-a033-a0a8eefe4c9b" providerId="ADAL" clId="{70836690-86E7-4866-B5A4-0EEE097F66C1}"/>
    <pc:docChg chg="undo redo custSel addSld delSld modSld sldOrd">
      <pc:chgData name="Alvillar, Jerry" userId="f6f4cae8-2a2b-4f03-a033-a0a8eefe4c9b" providerId="ADAL" clId="{70836690-86E7-4866-B5A4-0EEE097F66C1}" dt="2023-08-07T18:50:31.426" v="2658" actId="1076"/>
      <pc:docMkLst>
        <pc:docMk/>
      </pc:docMkLst>
      <pc:sldChg chg="modSp mod">
        <pc:chgData name="Alvillar, Jerry" userId="f6f4cae8-2a2b-4f03-a033-a0a8eefe4c9b" providerId="ADAL" clId="{70836690-86E7-4866-B5A4-0EEE097F66C1}" dt="2023-08-04T22:03:03.366" v="33" actId="6549"/>
        <pc:sldMkLst>
          <pc:docMk/>
          <pc:sldMk cId="3552216212" sldId="256"/>
        </pc:sldMkLst>
        <pc:spChg chg="mod">
          <ac:chgData name="Alvillar, Jerry" userId="f6f4cae8-2a2b-4f03-a033-a0a8eefe4c9b" providerId="ADAL" clId="{70836690-86E7-4866-B5A4-0EEE097F66C1}" dt="2023-08-04T22:02:51.662" v="11" actId="404"/>
          <ac:spMkLst>
            <pc:docMk/>
            <pc:sldMk cId="3552216212" sldId="256"/>
            <ac:spMk id="2" creationId="{77E611BF-8160-44B3-808D-163F9DA17BE4}"/>
          </ac:spMkLst>
        </pc:spChg>
        <pc:spChg chg="mod">
          <ac:chgData name="Alvillar, Jerry" userId="f6f4cae8-2a2b-4f03-a033-a0a8eefe4c9b" providerId="ADAL" clId="{70836690-86E7-4866-B5A4-0EEE097F66C1}" dt="2023-08-04T22:03:03.366" v="33" actId="6549"/>
          <ac:spMkLst>
            <pc:docMk/>
            <pc:sldMk cId="3552216212" sldId="256"/>
            <ac:spMk id="3" creationId="{BB534FD6-59A0-4D62-9D99-5B6A4E67A256}"/>
          </ac:spMkLst>
        </pc:spChg>
      </pc:sldChg>
      <pc:sldChg chg="del">
        <pc:chgData name="Alvillar, Jerry" userId="f6f4cae8-2a2b-4f03-a033-a0a8eefe4c9b" providerId="ADAL" clId="{70836690-86E7-4866-B5A4-0EEE097F66C1}" dt="2023-08-04T23:27:44.293" v="181" actId="47"/>
        <pc:sldMkLst>
          <pc:docMk/>
          <pc:sldMk cId="2739722213" sldId="257"/>
        </pc:sldMkLst>
      </pc:sldChg>
      <pc:sldChg chg="del">
        <pc:chgData name="Alvillar, Jerry" userId="f6f4cae8-2a2b-4f03-a033-a0a8eefe4c9b" providerId="ADAL" clId="{70836690-86E7-4866-B5A4-0EEE097F66C1}" dt="2023-08-04T23:27:00.443" v="164" actId="47"/>
        <pc:sldMkLst>
          <pc:docMk/>
          <pc:sldMk cId="1746354171" sldId="258"/>
        </pc:sldMkLst>
      </pc:sldChg>
      <pc:sldChg chg="del">
        <pc:chgData name="Alvillar, Jerry" userId="f6f4cae8-2a2b-4f03-a033-a0a8eefe4c9b" providerId="ADAL" clId="{70836690-86E7-4866-B5A4-0EEE097F66C1}" dt="2023-08-04T23:26:58.876" v="163" actId="47"/>
        <pc:sldMkLst>
          <pc:docMk/>
          <pc:sldMk cId="2878754021" sldId="259"/>
        </pc:sldMkLst>
      </pc:sldChg>
      <pc:sldChg chg="modSp mod modShow">
        <pc:chgData name="Alvillar, Jerry" userId="f6f4cae8-2a2b-4f03-a033-a0a8eefe4c9b" providerId="ADAL" clId="{70836690-86E7-4866-B5A4-0EEE097F66C1}" dt="2023-08-07T17:13:12.710" v="992" actId="1076"/>
        <pc:sldMkLst>
          <pc:docMk/>
          <pc:sldMk cId="1813695098" sldId="260"/>
        </pc:sldMkLst>
        <pc:spChg chg="mod">
          <ac:chgData name="Alvillar, Jerry" userId="f6f4cae8-2a2b-4f03-a033-a0a8eefe4c9b" providerId="ADAL" clId="{70836690-86E7-4866-B5A4-0EEE097F66C1}" dt="2023-08-07T16:38:55.938" v="885" actId="1076"/>
          <ac:spMkLst>
            <pc:docMk/>
            <pc:sldMk cId="1813695098" sldId="260"/>
            <ac:spMk id="21" creationId="{DC4EC4A1-F2A8-46C0-9DB8-9044030FEF77}"/>
          </ac:spMkLst>
        </pc:spChg>
        <pc:graphicFrameChg chg="mod">
          <ac:chgData name="Alvillar, Jerry" userId="f6f4cae8-2a2b-4f03-a033-a0a8eefe4c9b" providerId="ADAL" clId="{70836690-86E7-4866-B5A4-0EEE097F66C1}" dt="2023-08-07T17:13:12.710" v="992" actId="1076"/>
          <ac:graphicFrameMkLst>
            <pc:docMk/>
            <pc:sldMk cId="1813695098" sldId="260"/>
            <ac:graphicFrameMk id="27" creationId="{518B5387-EEA9-49CC-8804-1ECD6BE7A834}"/>
          </ac:graphicFrameMkLst>
        </pc:graphicFrameChg>
      </pc:sldChg>
      <pc:sldChg chg="del">
        <pc:chgData name="Alvillar, Jerry" userId="f6f4cae8-2a2b-4f03-a033-a0a8eefe4c9b" providerId="ADAL" clId="{70836690-86E7-4866-B5A4-0EEE097F66C1}" dt="2023-08-04T23:27:48.608" v="182" actId="47"/>
        <pc:sldMkLst>
          <pc:docMk/>
          <pc:sldMk cId="1905319535" sldId="260"/>
        </pc:sldMkLst>
      </pc:sldChg>
      <pc:sldChg chg="modSp mod">
        <pc:chgData name="Alvillar, Jerry" userId="f6f4cae8-2a2b-4f03-a033-a0a8eefe4c9b" providerId="ADAL" clId="{70836690-86E7-4866-B5A4-0EEE097F66C1}" dt="2023-08-07T17:27:13.795" v="1137" actId="313"/>
        <pc:sldMkLst>
          <pc:docMk/>
          <pc:sldMk cId="2895837635" sldId="261"/>
        </pc:sldMkLst>
        <pc:spChg chg="mod">
          <ac:chgData name="Alvillar, Jerry" userId="f6f4cae8-2a2b-4f03-a033-a0a8eefe4c9b" providerId="ADAL" clId="{70836690-86E7-4866-B5A4-0EEE097F66C1}" dt="2023-08-07T17:27:13.795" v="1137" actId="313"/>
          <ac:spMkLst>
            <pc:docMk/>
            <pc:sldMk cId="2895837635" sldId="261"/>
            <ac:spMk id="13" creationId="{EA8627D0-7301-4F56-99B5-985248B5C3BD}"/>
          </ac:spMkLst>
        </pc:spChg>
      </pc:sldChg>
      <pc:sldChg chg="del">
        <pc:chgData name="Alvillar, Jerry" userId="f6f4cae8-2a2b-4f03-a033-a0a8eefe4c9b" providerId="ADAL" clId="{70836690-86E7-4866-B5A4-0EEE097F66C1}" dt="2023-08-07T16:24:11.489" v="857" actId="47"/>
        <pc:sldMkLst>
          <pc:docMk/>
          <pc:sldMk cId="222500050" sldId="262"/>
        </pc:sldMkLst>
      </pc:sldChg>
      <pc:sldChg chg="del">
        <pc:chgData name="Alvillar, Jerry" userId="f6f4cae8-2a2b-4f03-a033-a0a8eefe4c9b" providerId="ADAL" clId="{70836690-86E7-4866-B5A4-0EEE097F66C1}" dt="2023-08-04T23:27:25.294" v="177" actId="47"/>
        <pc:sldMkLst>
          <pc:docMk/>
          <pc:sldMk cId="3750742863" sldId="264"/>
        </pc:sldMkLst>
      </pc:sldChg>
      <pc:sldChg chg="ord">
        <pc:chgData name="Alvillar, Jerry" userId="f6f4cae8-2a2b-4f03-a033-a0a8eefe4c9b" providerId="ADAL" clId="{70836690-86E7-4866-B5A4-0EEE097F66C1}" dt="2023-08-07T18:48:02.092" v="2437"/>
        <pc:sldMkLst>
          <pc:docMk/>
          <pc:sldMk cId="2349231966" sldId="265"/>
        </pc:sldMkLst>
      </pc:sldChg>
      <pc:sldChg chg="modSp mod modShow">
        <pc:chgData name="Alvillar, Jerry" userId="f6f4cae8-2a2b-4f03-a033-a0a8eefe4c9b" providerId="ADAL" clId="{70836690-86E7-4866-B5A4-0EEE097F66C1}" dt="2023-08-07T16:50:50.686" v="957" actId="1076"/>
        <pc:sldMkLst>
          <pc:docMk/>
          <pc:sldMk cId="3797383439" sldId="266"/>
        </pc:sldMkLst>
        <pc:spChg chg="mod">
          <ac:chgData name="Alvillar, Jerry" userId="f6f4cae8-2a2b-4f03-a033-a0a8eefe4c9b" providerId="ADAL" clId="{70836690-86E7-4866-B5A4-0EEE097F66C1}" dt="2023-08-07T16:50:50.686" v="957" actId="1076"/>
          <ac:spMkLst>
            <pc:docMk/>
            <pc:sldMk cId="3797383439" sldId="266"/>
            <ac:spMk id="2" creationId="{1551007F-2755-45A6-A0E6-41FA3AA896ED}"/>
          </ac:spMkLst>
        </pc:spChg>
      </pc:sldChg>
      <pc:sldChg chg="del">
        <pc:chgData name="Alvillar, Jerry" userId="f6f4cae8-2a2b-4f03-a033-a0a8eefe4c9b" providerId="ADAL" clId="{70836690-86E7-4866-B5A4-0EEE097F66C1}" dt="2023-08-04T23:27:07.763" v="171" actId="47"/>
        <pc:sldMkLst>
          <pc:docMk/>
          <pc:sldMk cId="1932113825" sldId="283"/>
        </pc:sldMkLst>
      </pc:sldChg>
      <pc:sldChg chg="del">
        <pc:chgData name="Alvillar, Jerry" userId="f6f4cae8-2a2b-4f03-a033-a0a8eefe4c9b" providerId="ADAL" clId="{70836690-86E7-4866-B5A4-0EEE097F66C1}" dt="2023-08-04T23:27:28.700" v="178" actId="47"/>
        <pc:sldMkLst>
          <pc:docMk/>
          <pc:sldMk cId="588960789" sldId="285"/>
        </pc:sldMkLst>
      </pc:sldChg>
      <pc:sldChg chg="del">
        <pc:chgData name="Alvillar, Jerry" userId="f6f4cae8-2a2b-4f03-a033-a0a8eefe4c9b" providerId="ADAL" clId="{70836690-86E7-4866-B5A4-0EEE097F66C1}" dt="2023-08-04T23:27:36.139" v="180" actId="47"/>
        <pc:sldMkLst>
          <pc:docMk/>
          <pc:sldMk cId="2736625443" sldId="286"/>
        </pc:sldMkLst>
      </pc:sldChg>
      <pc:sldChg chg="del">
        <pc:chgData name="Alvillar, Jerry" userId="f6f4cae8-2a2b-4f03-a033-a0a8eefe4c9b" providerId="ADAL" clId="{70836690-86E7-4866-B5A4-0EEE097F66C1}" dt="2023-08-04T23:27:33.552" v="179" actId="47"/>
        <pc:sldMkLst>
          <pc:docMk/>
          <pc:sldMk cId="2738950194" sldId="287"/>
        </pc:sldMkLst>
      </pc:sldChg>
      <pc:sldChg chg="del">
        <pc:chgData name="Alvillar, Jerry" userId="f6f4cae8-2a2b-4f03-a033-a0a8eefe4c9b" providerId="ADAL" clId="{70836690-86E7-4866-B5A4-0EEE097F66C1}" dt="2023-08-04T23:27:23.698" v="176" actId="47"/>
        <pc:sldMkLst>
          <pc:docMk/>
          <pc:sldMk cId="1444262996" sldId="288"/>
        </pc:sldMkLst>
      </pc:sldChg>
      <pc:sldChg chg="del">
        <pc:chgData name="Alvillar, Jerry" userId="f6f4cae8-2a2b-4f03-a033-a0a8eefe4c9b" providerId="ADAL" clId="{70836690-86E7-4866-B5A4-0EEE097F66C1}" dt="2023-08-04T23:27:02.688" v="166" actId="47"/>
        <pc:sldMkLst>
          <pc:docMk/>
          <pc:sldMk cId="822737497" sldId="314"/>
        </pc:sldMkLst>
      </pc:sldChg>
      <pc:sldChg chg="del">
        <pc:chgData name="Alvillar, Jerry" userId="f6f4cae8-2a2b-4f03-a033-a0a8eefe4c9b" providerId="ADAL" clId="{70836690-86E7-4866-B5A4-0EEE097F66C1}" dt="2023-08-04T23:27:03.661" v="167" actId="47"/>
        <pc:sldMkLst>
          <pc:docMk/>
          <pc:sldMk cId="141123601" sldId="315"/>
        </pc:sldMkLst>
      </pc:sldChg>
      <pc:sldChg chg="del">
        <pc:chgData name="Alvillar, Jerry" userId="f6f4cae8-2a2b-4f03-a033-a0a8eefe4c9b" providerId="ADAL" clId="{70836690-86E7-4866-B5A4-0EEE097F66C1}" dt="2023-08-04T23:27:06.015" v="169" actId="47"/>
        <pc:sldMkLst>
          <pc:docMk/>
          <pc:sldMk cId="2620896549" sldId="316"/>
        </pc:sldMkLst>
      </pc:sldChg>
      <pc:sldChg chg="del">
        <pc:chgData name="Alvillar, Jerry" userId="f6f4cae8-2a2b-4f03-a033-a0a8eefe4c9b" providerId="ADAL" clId="{70836690-86E7-4866-B5A4-0EEE097F66C1}" dt="2023-08-04T23:27:06.900" v="170" actId="47"/>
        <pc:sldMkLst>
          <pc:docMk/>
          <pc:sldMk cId="3780403856" sldId="317"/>
        </pc:sldMkLst>
      </pc:sldChg>
      <pc:sldChg chg="modSp mod ord">
        <pc:chgData name="Alvillar, Jerry" userId="f6f4cae8-2a2b-4f03-a033-a0a8eefe4c9b" providerId="ADAL" clId="{70836690-86E7-4866-B5A4-0EEE097F66C1}" dt="2023-08-07T17:28:10.080" v="1203" actId="20577"/>
        <pc:sldMkLst>
          <pc:docMk/>
          <pc:sldMk cId="1103445011" sldId="318"/>
        </pc:sldMkLst>
        <pc:spChg chg="mod">
          <ac:chgData name="Alvillar, Jerry" userId="f6f4cae8-2a2b-4f03-a033-a0a8eefe4c9b" providerId="ADAL" clId="{70836690-86E7-4866-B5A4-0EEE097F66C1}" dt="2023-08-07T17:27:58.411" v="1190" actId="20577"/>
          <ac:spMkLst>
            <pc:docMk/>
            <pc:sldMk cId="1103445011" sldId="318"/>
            <ac:spMk id="2" creationId="{BCB2094A-BF89-4BDB-AB51-F1AEC2CEB5C3}"/>
          </ac:spMkLst>
        </pc:spChg>
        <pc:spChg chg="mod">
          <ac:chgData name="Alvillar, Jerry" userId="f6f4cae8-2a2b-4f03-a033-a0a8eefe4c9b" providerId="ADAL" clId="{70836690-86E7-4866-B5A4-0EEE097F66C1}" dt="2023-08-07T17:28:10.080" v="1203" actId="20577"/>
          <ac:spMkLst>
            <pc:docMk/>
            <pc:sldMk cId="1103445011" sldId="318"/>
            <ac:spMk id="3" creationId="{BE9DD4DE-B768-4877-BBAD-939131D02562}"/>
          </ac:spMkLst>
        </pc:spChg>
      </pc:sldChg>
      <pc:sldChg chg="del">
        <pc:chgData name="Alvillar, Jerry" userId="f6f4cae8-2a2b-4f03-a033-a0a8eefe4c9b" providerId="ADAL" clId="{70836690-86E7-4866-B5A4-0EEE097F66C1}" dt="2023-08-04T23:27:01.672" v="165" actId="47"/>
        <pc:sldMkLst>
          <pc:docMk/>
          <pc:sldMk cId="1905360347" sldId="319"/>
        </pc:sldMkLst>
      </pc:sldChg>
      <pc:sldChg chg="modSp new mod ord">
        <pc:chgData name="Alvillar, Jerry" userId="f6f4cae8-2a2b-4f03-a033-a0a8eefe4c9b" providerId="ADAL" clId="{70836690-86E7-4866-B5A4-0EEE097F66C1}" dt="2023-08-07T18:47:26.571" v="2433" actId="6549"/>
        <pc:sldMkLst>
          <pc:docMk/>
          <pc:sldMk cId="3861504043" sldId="319"/>
        </pc:sldMkLst>
        <pc:spChg chg="mod">
          <ac:chgData name="Alvillar, Jerry" userId="f6f4cae8-2a2b-4f03-a033-a0a8eefe4c9b" providerId="ADAL" clId="{70836690-86E7-4866-B5A4-0EEE097F66C1}" dt="2023-08-05T00:01:02.457" v="736" actId="20577"/>
          <ac:spMkLst>
            <pc:docMk/>
            <pc:sldMk cId="3861504043" sldId="319"/>
            <ac:spMk id="2" creationId="{FFEE8765-4D45-488F-8C26-3A217F67CC0A}"/>
          </ac:spMkLst>
        </pc:spChg>
        <pc:spChg chg="mod">
          <ac:chgData name="Alvillar, Jerry" userId="f6f4cae8-2a2b-4f03-a033-a0a8eefe4c9b" providerId="ADAL" clId="{70836690-86E7-4866-B5A4-0EEE097F66C1}" dt="2023-08-07T18:47:26.571" v="2433" actId="6549"/>
          <ac:spMkLst>
            <pc:docMk/>
            <pc:sldMk cId="3861504043" sldId="319"/>
            <ac:spMk id="3" creationId="{779A73BE-5DF5-4C53-8ADC-09D607993CD1}"/>
          </ac:spMkLst>
        </pc:spChg>
      </pc:sldChg>
      <pc:sldChg chg="del">
        <pc:chgData name="Alvillar, Jerry" userId="f6f4cae8-2a2b-4f03-a033-a0a8eefe4c9b" providerId="ADAL" clId="{70836690-86E7-4866-B5A4-0EEE097F66C1}" dt="2023-08-04T23:27:04.583" v="168" actId="47"/>
        <pc:sldMkLst>
          <pc:docMk/>
          <pc:sldMk cId="1618949895" sldId="320"/>
        </pc:sldMkLst>
      </pc:sldChg>
      <pc:sldChg chg="modSp new del mod ord">
        <pc:chgData name="Alvillar, Jerry" userId="f6f4cae8-2a2b-4f03-a033-a0a8eefe4c9b" providerId="ADAL" clId="{70836690-86E7-4866-B5A4-0EEE097F66C1}" dt="2023-08-07T18:47:31.073" v="2434" actId="47"/>
        <pc:sldMkLst>
          <pc:docMk/>
          <pc:sldMk cId="2905290304" sldId="320"/>
        </pc:sldMkLst>
        <pc:spChg chg="mod">
          <ac:chgData name="Alvillar, Jerry" userId="f6f4cae8-2a2b-4f03-a033-a0a8eefe4c9b" providerId="ADAL" clId="{70836690-86E7-4866-B5A4-0EEE097F66C1}" dt="2023-08-07T14:06:22.877" v="805" actId="20577"/>
          <ac:spMkLst>
            <pc:docMk/>
            <pc:sldMk cId="2905290304" sldId="320"/>
            <ac:spMk id="2" creationId="{59869483-2BFF-4F84-83DD-DB1822A728D0}"/>
          </ac:spMkLst>
        </pc:spChg>
        <pc:spChg chg="mod">
          <ac:chgData name="Alvillar, Jerry" userId="f6f4cae8-2a2b-4f03-a033-a0a8eefe4c9b" providerId="ADAL" clId="{70836690-86E7-4866-B5A4-0EEE097F66C1}" dt="2023-08-07T18:45:57.237" v="2351" actId="21"/>
          <ac:spMkLst>
            <pc:docMk/>
            <pc:sldMk cId="2905290304" sldId="320"/>
            <ac:spMk id="3" creationId="{4921766D-C8F2-4F90-8B05-BC3CB5A23382}"/>
          </ac:spMkLst>
        </pc:spChg>
      </pc:sldChg>
      <pc:sldChg chg="modSp new mod ord">
        <pc:chgData name="Alvillar, Jerry" userId="f6f4cae8-2a2b-4f03-a033-a0a8eefe4c9b" providerId="ADAL" clId="{70836690-86E7-4866-B5A4-0EEE097F66C1}" dt="2023-08-07T16:53:08.294" v="962"/>
        <pc:sldMkLst>
          <pc:docMk/>
          <pc:sldMk cId="528327316" sldId="321"/>
        </pc:sldMkLst>
        <pc:spChg chg="mod">
          <ac:chgData name="Alvillar, Jerry" userId="f6f4cae8-2a2b-4f03-a033-a0a8eefe4c9b" providerId="ADAL" clId="{70836690-86E7-4866-B5A4-0EEE097F66C1}" dt="2023-08-05T00:02:09.104" v="768" actId="20577"/>
          <ac:spMkLst>
            <pc:docMk/>
            <pc:sldMk cId="528327316" sldId="321"/>
            <ac:spMk id="2" creationId="{6E547E13-AC25-4130-BCD0-6E252BD460AF}"/>
          </ac:spMkLst>
        </pc:spChg>
        <pc:spChg chg="mod">
          <ac:chgData name="Alvillar, Jerry" userId="f6f4cae8-2a2b-4f03-a033-a0a8eefe4c9b" providerId="ADAL" clId="{70836690-86E7-4866-B5A4-0EEE097F66C1}" dt="2023-08-07T14:05:30.478" v="782" actId="20577"/>
          <ac:spMkLst>
            <pc:docMk/>
            <pc:sldMk cId="528327316" sldId="321"/>
            <ac:spMk id="3" creationId="{A955B68D-AD1E-4A6A-861F-8E882B5A8DA2}"/>
          </ac:spMkLst>
        </pc:spChg>
      </pc:sldChg>
      <pc:sldChg chg="addSp delSp modSp new del mod">
        <pc:chgData name="Alvillar, Jerry" userId="f6f4cae8-2a2b-4f03-a033-a0a8eefe4c9b" providerId="ADAL" clId="{70836690-86E7-4866-B5A4-0EEE097F66C1}" dt="2023-08-07T15:28:59.867" v="854" actId="47"/>
        <pc:sldMkLst>
          <pc:docMk/>
          <pc:sldMk cId="2353030289" sldId="322"/>
        </pc:sldMkLst>
        <pc:spChg chg="del">
          <ac:chgData name="Alvillar, Jerry" userId="f6f4cae8-2a2b-4f03-a033-a0a8eefe4c9b" providerId="ADAL" clId="{70836690-86E7-4866-B5A4-0EEE097F66C1}" dt="2023-08-07T13:56:23.614" v="770" actId="478"/>
          <ac:spMkLst>
            <pc:docMk/>
            <pc:sldMk cId="2353030289" sldId="322"/>
            <ac:spMk id="3" creationId="{F47BDE0E-FE01-4E74-93C0-6433D4B6236C}"/>
          </ac:spMkLst>
        </pc:spChg>
        <pc:picChg chg="add mod">
          <ac:chgData name="Alvillar, Jerry" userId="f6f4cae8-2a2b-4f03-a033-a0a8eefe4c9b" providerId="ADAL" clId="{70836690-86E7-4866-B5A4-0EEE097F66C1}" dt="2023-08-07T13:56:50.741" v="778" actId="208"/>
          <ac:picMkLst>
            <pc:docMk/>
            <pc:sldMk cId="2353030289" sldId="322"/>
            <ac:picMk id="6" creationId="{D04C1391-7A1D-4FDA-A18D-D8B0514CEB1F}"/>
          </ac:picMkLst>
        </pc:picChg>
      </pc:sldChg>
      <pc:sldChg chg="addSp delSp modSp new mod ord">
        <pc:chgData name="Alvillar, Jerry" userId="f6f4cae8-2a2b-4f03-a033-a0a8eefe4c9b" providerId="ADAL" clId="{70836690-86E7-4866-B5A4-0EEE097F66C1}" dt="2023-08-07T16:51:45.443" v="959"/>
        <pc:sldMkLst>
          <pc:docMk/>
          <pc:sldMk cId="960210967" sldId="323"/>
        </pc:sldMkLst>
        <pc:spChg chg="del">
          <ac:chgData name="Alvillar, Jerry" userId="f6f4cae8-2a2b-4f03-a033-a0a8eefe4c9b" providerId="ADAL" clId="{70836690-86E7-4866-B5A4-0EEE097F66C1}" dt="2023-08-07T14:48:57.301" v="820" actId="478"/>
          <ac:spMkLst>
            <pc:docMk/>
            <pc:sldMk cId="960210967" sldId="323"/>
            <ac:spMk id="3" creationId="{D3ED460A-A79B-4301-A96F-665631CB99BB}"/>
          </ac:spMkLst>
        </pc:spChg>
        <pc:picChg chg="add mod">
          <ac:chgData name="Alvillar, Jerry" userId="f6f4cae8-2a2b-4f03-a033-a0a8eefe4c9b" providerId="ADAL" clId="{70836690-86E7-4866-B5A4-0EEE097F66C1}" dt="2023-08-07T14:49:05.080" v="823" actId="1076"/>
          <ac:picMkLst>
            <pc:docMk/>
            <pc:sldMk cId="960210967" sldId="323"/>
            <ac:picMk id="6" creationId="{22F598FB-D3B6-4AAB-962B-47F2C0F066B3}"/>
          </ac:picMkLst>
        </pc:picChg>
      </pc:sldChg>
      <pc:sldChg chg="addSp delSp modSp new mod ord">
        <pc:chgData name="Alvillar, Jerry" userId="f6f4cae8-2a2b-4f03-a033-a0a8eefe4c9b" providerId="ADAL" clId="{70836690-86E7-4866-B5A4-0EEE097F66C1}" dt="2023-08-07T18:50:31.426" v="2658" actId="1076"/>
        <pc:sldMkLst>
          <pc:docMk/>
          <pc:sldMk cId="3731937585" sldId="324"/>
        </pc:sldMkLst>
        <pc:spChg chg="mod">
          <ac:chgData name="Alvillar, Jerry" userId="f6f4cae8-2a2b-4f03-a033-a0a8eefe4c9b" providerId="ADAL" clId="{70836690-86E7-4866-B5A4-0EEE097F66C1}" dt="2023-08-07T14:50:45.893" v="845" actId="20577"/>
          <ac:spMkLst>
            <pc:docMk/>
            <pc:sldMk cId="3731937585" sldId="324"/>
            <ac:spMk id="2" creationId="{74EE93A2-0A15-4A5E-BA78-0F636301832E}"/>
          </ac:spMkLst>
        </pc:spChg>
        <pc:spChg chg="del">
          <ac:chgData name="Alvillar, Jerry" userId="f6f4cae8-2a2b-4f03-a033-a0a8eefe4c9b" providerId="ADAL" clId="{70836690-86E7-4866-B5A4-0EEE097F66C1}" dt="2023-08-07T14:50:31.045" v="827" actId="478"/>
          <ac:spMkLst>
            <pc:docMk/>
            <pc:sldMk cId="3731937585" sldId="324"/>
            <ac:spMk id="3" creationId="{8BDAE808-D464-4288-BDDF-1370B7CC2529}"/>
          </ac:spMkLst>
        </pc:spChg>
        <pc:spChg chg="add mod">
          <ac:chgData name="Alvillar, Jerry" userId="f6f4cae8-2a2b-4f03-a033-a0a8eefe4c9b" providerId="ADAL" clId="{70836690-86E7-4866-B5A4-0EEE097F66C1}" dt="2023-08-07T18:50:27.481" v="2657" actId="122"/>
          <ac:spMkLst>
            <pc:docMk/>
            <pc:sldMk cId="3731937585" sldId="324"/>
            <ac:spMk id="5" creationId="{BCE03DB7-7EE7-4134-A78C-931BE6AF313B}"/>
          </ac:spMkLst>
        </pc:spChg>
        <pc:spChg chg="add mod">
          <ac:chgData name="Alvillar, Jerry" userId="f6f4cae8-2a2b-4f03-a033-a0a8eefe4c9b" providerId="ADAL" clId="{70836690-86E7-4866-B5A4-0EEE097F66C1}" dt="2023-08-07T18:50:22.025" v="2656" actId="122"/>
          <ac:spMkLst>
            <pc:docMk/>
            <pc:sldMk cId="3731937585" sldId="324"/>
            <ac:spMk id="6" creationId="{F050EF85-D4D9-4664-BC5B-B93FC74BB57C}"/>
          </ac:spMkLst>
        </pc:spChg>
        <pc:spChg chg="add mod">
          <ac:chgData name="Alvillar, Jerry" userId="f6f4cae8-2a2b-4f03-a033-a0a8eefe4c9b" providerId="ADAL" clId="{70836690-86E7-4866-B5A4-0EEE097F66C1}" dt="2023-08-07T18:50:31.426" v="2658" actId="1076"/>
          <ac:spMkLst>
            <pc:docMk/>
            <pc:sldMk cId="3731937585" sldId="324"/>
            <ac:spMk id="7" creationId="{2DECBFBD-5A80-4A3F-8723-1346760A8620}"/>
          </ac:spMkLst>
        </pc:spChg>
        <pc:picChg chg="add mod">
          <ac:chgData name="Alvillar, Jerry" userId="f6f4cae8-2a2b-4f03-a033-a0a8eefe4c9b" providerId="ADAL" clId="{70836690-86E7-4866-B5A4-0EEE097F66C1}" dt="2023-08-07T18:48:51.274" v="2446" actId="1076"/>
          <ac:picMkLst>
            <pc:docMk/>
            <pc:sldMk cId="3731937585" sldId="324"/>
            <ac:picMk id="15362" creationId="{14612A80-71FD-4C06-82DC-1BCBF90ABA84}"/>
          </ac:picMkLst>
        </pc:picChg>
      </pc:sldChg>
      <pc:sldChg chg="del mod modShow">
        <pc:chgData name="Alvillar, Jerry" userId="f6f4cae8-2a2b-4f03-a033-a0a8eefe4c9b" providerId="ADAL" clId="{70836690-86E7-4866-B5A4-0EEE097F66C1}" dt="2023-08-07T16:28:55.627" v="868" actId="47"/>
        <pc:sldMkLst>
          <pc:docMk/>
          <pc:sldMk cId="3068198548" sldId="406"/>
        </pc:sldMkLst>
      </pc:sldChg>
      <pc:sldChg chg="mod modShow">
        <pc:chgData name="Alvillar, Jerry" userId="f6f4cae8-2a2b-4f03-a033-a0a8eefe4c9b" providerId="ADAL" clId="{70836690-86E7-4866-B5A4-0EEE097F66C1}" dt="2023-08-07T16:28:20.992" v="866" actId="729"/>
        <pc:sldMkLst>
          <pc:docMk/>
          <pc:sldMk cId="1805971183" sldId="411"/>
        </pc:sldMkLst>
      </pc:sldChg>
      <pc:sldChg chg="mod modShow">
        <pc:chgData name="Alvillar, Jerry" userId="f6f4cae8-2a2b-4f03-a033-a0a8eefe4c9b" providerId="ADAL" clId="{70836690-86E7-4866-B5A4-0EEE097F66C1}" dt="2023-08-07T16:27:59.113" v="865" actId="729"/>
        <pc:sldMkLst>
          <pc:docMk/>
          <pc:sldMk cId="1266916231" sldId="412"/>
        </pc:sldMkLst>
      </pc:sldChg>
      <pc:sldChg chg="mod modShow">
        <pc:chgData name="Alvillar, Jerry" userId="f6f4cae8-2a2b-4f03-a033-a0a8eefe4c9b" providerId="ADAL" clId="{70836690-86E7-4866-B5A4-0EEE097F66C1}" dt="2023-08-07T16:36:14.023" v="875" actId="729"/>
        <pc:sldMkLst>
          <pc:docMk/>
          <pc:sldMk cId="1773251998" sldId="414"/>
        </pc:sldMkLst>
      </pc:sldChg>
      <pc:sldChg chg="modSp del mod">
        <pc:chgData name="Alvillar, Jerry" userId="f6f4cae8-2a2b-4f03-a033-a0a8eefe4c9b" providerId="ADAL" clId="{70836690-86E7-4866-B5A4-0EEE097F66C1}" dt="2023-08-07T16:36:10.637" v="874" actId="47"/>
        <pc:sldMkLst>
          <pc:docMk/>
          <pc:sldMk cId="3187011442" sldId="415"/>
        </pc:sldMkLst>
        <pc:graphicFrameChg chg="mod">
          <ac:chgData name="Alvillar, Jerry" userId="f6f4cae8-2a2b-4f03-a033-a0a8eefe4c9b" providerId="ADAL" clId="{70836690-86E7-4866-B5A4-0EEE097F66C1}" dt="2023-08-07T16:30:00.463" v="872" actId="1076"/>
          <ac:graphicFrameMkLst>
            <pc:docMk/>
            <pc:sldMk cId="3187011442" sldId="415"/>
            <ac:graphicFrameMk id="22" creationId="{88E202DE-AC1C-44F8-BCF8-DA5C6CAED2B3}"/>
          </ac:graphicFrameMkLst>
        </pc:graphicFrameChg>
        <pc:picChg chg="mod">
          <ac:chgData name="Alvillar, Jerry" userId="f6f4cae8-2a2b-4f03-a033-a0a8eefe4c9b" providerId="ADAL" clId="{70836690-86E7-4866-B5A4-0EEE097F66C1}" dt="2023-08-07T16:30:05.397" v="873" actId="1076"/>
          <ac:picMkLst>
            <pc:docMk/>
            <pc:sldMk cId="3187011442" sldId="415"/>
            <ac:picMk id="12" creationId="{EE769E07-F60D-45AE-B60B-80E982D2057B}"/>
          </ac:picMkLst>
        </pc:picChg>
      </pc:sldChg>
      <pc:sldChg chg="modSp del mod modShow">
        <pc:chgData name="Alvillar, Jerry" userId="f6f4cae8-2a2b-4f03-a033-a0a8eefe4c9b" providerId="ADAL" clId="{70836690-86E7-4866-B5A4-0EEE097F66C1}" dt="2023-08-07T17:33:45.952" v="1303" actId="47"/>
        <pc:sldMkLst>
          <pc:docMk/>
          <pc:sldMk cId="3459388629" sldId="416"/>
        </pc:sldMkLst>
        <pc:spChg chg="mod">
          <ac:chgData name="Alvillar, Jerry" userId="f6f4cae8-2a2b-4f03-a033-a0a8eefe4c9b" providerId="ADAL" clId="{70836690-86E7-4866-B5A4-0EEE097F66C1}" dt="2023-08-07T16:40:57.942" v="891" actId="1076"/>
          <ac:spMkLst>
            <pc:docMk/>
            <pc:sldMk cId="3459388629" sldId="416"/>
            <ac:spMk id="3" creationId="{7BC69D00-996D-4426-B2C7-29ED9D352AA9}"/>
          </ac:spMkLst>
        </pc:spChg>
      </pc:sldChg>
      <pc:sldChg chg="modSp del mod modShow">
        <pc:chgData name="Alvillar, Jerry" userId="f6f4cae8-2a2b-4f03-a033-a0a8eefe4c9b" providerId="ADAL" clId="{70836690-86E7-4866-B5A4-0EEE097F66C1}" dt="2023-08-07T16:39:10.352" v="886" actId="47"/>
        <pc:sldMkLst>
          <pc:docMk/>
          <pc:sldMk cId="2625605315" sldId="418"/>
        </pc:sldMkLst>
        <pc:spChg chg="mod">
          <ac:chgData name="Alvillar, Jerry" userId="f6f4cae8-2a2b-4f03-a033-a0a8eefe4c9b" providerId="ADAL" clId="{70836690-86E7-4866-B5A4-0EEE097F66C1}" dt="2023-08-07T16:36:23.755" v="876" actId="1076"/>
          <ac:spMkLst>
            <pc:docMk/>
            <pc:sldMk cId="2625605315" sldId="418"/>
            <ac:spMk id="3" creationId="{7BC69D00-996D-4426-B2C7-29ED9D352AA9}"/>
          </ac:spMkLst>
        </pc:spChg>
        <pc:graphicFrameChg chg="mod">
          <ac:chgData name="Alvillar, Jerry" userId="f6f4cae8-2a2b-4f03-a033-a0a8eefe4c9b" providerId="ADAL" clId="{70836690-86E7-4866-B5A4-0EEE097F66C1}" dt="2023-08-07T16:36:42.331" v="878" actId="1076"/>
          <ac:graphicFrameMkLst>
            <pc:docMk/>
            <pc:sldMk cId="2625605315" sldId="418"/>
            <ac:graphicFrameMk id="22" creationId="{88E202DE-AC1C-44F8-BCF8-DA5C6CAED2B3}"/>
          </ac:graphicFrameMkLst>
        </pc:graphicFrameChg>
        <pc:picChg chg="mod">
          <ac:chgData name="Alvillar, Jerry" userId="f6f4cae8-2a2b-4f03-a033-a0a8eefe4c9b" providerId="ADAL" clId="{70836690-86E7-4866-B5A4-0EEE097F66C1}" dt="2023-08-07T16:36:39.202" v="877" actId="1076"/>
          <ac:picMkLst>
            <pc:docMk/>
            <pc:sldMk cId="2625605315" sldId="418"/>
            <ac:picMk id="12" creationId="{EE769E07-F60D-45AE-B60B-80E982D2057B}"/>
          </ac:picMkLst>
        </pc:picChg>
      </pc:sldChg>
      <pc:sldChg chg="mod modShow">
        <pc:chgData name="Alvillar, Jerry" userId="f6f4cae8-2a2b-4f03-a033-a0a8eefe4c9b" providerId="ADAL" clId="{70836690-86E7-4866-B5A4-0EEE097F66C1}" dt="2023-08-07T16:39:22.213" v="887" actId="729"/>
        <pc:sldMkLst>
          <pc:docMk/>
          <pc:sldMk cId="3992694529" sldId="419"/>
        </pc:sldMkLst>
      </pc:sldChg>
      <pc:sldChg chg="modSp del mod modShow">
        <pc:chgData name="Alvillar, Jerry" userId="f6f4cae8-2a2b-4f03-a033-a0a8eefe4c9b" providerId="ADAL" clId="{70836690-86E7-4866-B5A4-0EEE097F66C1}" dt="2023-08-07T16:38:46.789" v="884" actId="47"/>
        <pc:sldMkLst>
          <pc:docMk/>
          <pc:sldMk cId="3605564746" sldId="420"/>
        </pc:sldMkLst>
        <pc:spChg chg="mod">
          <ac:chgData name="Alvillar, Jerry" userId="f6f4cae8-2a2b-4f03-a033-a0a8eefe4c9b" providerId="ADAL" clId="{70836690-86E7-4866-B5A4-0EEE097F66C1}" dt="2023-08-07T16:38:37.854" v="882" actId="1076"/>
          <ac:spMkLst>
            <pc:docMk/>
            <pc:sldMk cId="3605564746" sldId="420"/>
            <ac:spMk id="3" creationId="{7BC69D00-996D-4426-B2C7-29ED9D352AA9}"/>
          </ac:spMkLst>
        </pc:spChg>
      </pc:sldChg>
      <pc:sldChg chg="modSp mod modShow">
        <pc:chgData name="Alvillar, Jerry" userId="f6f4cae8-2a2b-4f03-a033-a0a8eefe4c9b" providerId="ADAL" clId="{70836690-86E7-4866-B5A4-0EEE097F66C1}" dt="2023-08-07T16:39:55.883" v="890" actId="729"/>
        <pc:sldMkLst>
          <pc:docMk/>
          <pc:sldMk cId="858277693" sldId="421"/>
        </pc:sldMkLst>
        <pc:spChg chg="mod">
          <ac:chgData name="Alvillar, Jerry" userId="f6f4cae8-2a2b-4f03-a033-a0a8eefe4c9b" providerId="ADAL" clId="{70836690-86E7-4866-B5A4-0EEE097F66C1}" dt="2023-08-07T16:39:32.930" v="889" actId="1076"/>
          <ac:spMkLst>
            <pc:docMk/>
            <pc:sldMk cId="858277693" sldId="421"/>
            <ac:spMk id="21" creationId="{DC4EC4A1-F2A8-46C0-9DB8-9044030FEF77}"/>
          </ac:spMkLst>
        </pc:spChg>
      </pc:sldChg>
      <pc:sldChg chg="del">
        <pc:chgData name="Alvillar, Jerry" userId="f6f4cae8-2a2b-4f03-a033-a0a8eefe4c9b" providerId="ADAL" clId="{70836690-86E7-4866-B5A4-0EEE097F66C1}" dt="2023-08-04T23:27:15.836" v="175" actId="47"/>
        <pc:sldMkLst>
          <pc:docMk/>
          <pc:sldMk cId="4281657652" sldId="2147469923"/>
        </pc:sldMkLst>
      </pc:sldChg>
      <pc:sldChg chg="del">
        <pc:chgData name="Alvillar, Jerry" userId="f6f4cae8-2a2b-4f03-a033-a0a8eefe4c9b" providerId="ADAL" clId="{70836690-86E7-4866-B5A4-0EEE097F66C1}" dt="2023-08-04T23:27:09.871" v="172" actId="47"/>
        <pc:sldMkLst>
          <pc:docMk/>
          <pc:sldMk cId="2461421695" sldId="2147469945"/>
        </pc:sldMkLst>
      </pc:sldChg>
      <pc:sldChg chg="del">
        <pc:chgData name="Alvillar, Jerry" userId="f6f4cae8-2a2b-4f03-a033-a0a8eefe4c9b" providerId="ADAL" clId="{70836690-86E7-4866-B5A4-0EEE097F66C1}" dt="2023-08-04T23:27:13.018" v="174" actId="47"/>
        <pc:sldMkLst>
          <pc:docMk/>
          <pc:sldMk cId="461803544" sldId="2147469947"/>
        </pc:sldMkLst>
      </pc:sldChg>
      <pc:sldChg chg="del">
        <pc:chgData name="Alvillar, Jerry" userId="f6f4cae8-2a2b-4f03-a033-a0a8eefe4c9b" providerId="ADAL" clId="{70836690-86E7-4866-B5A4-0EEE097F66C1}" dt="2023-08-04T23:27:11.290" v="173" actId="47"/>
        <pc:sldMkLst>
          <pc:docMk/>
          <pc:sldMk cId="693931530" sldId="2147469948"/>
        </pc:sldMkLst>
      </pc:sldChg>
      <pc:sldChg chg="mod modShow">
        <pc:chgData name="Alvillar, Jerry" userId="f6f4cae8-2a2b-4f03-a033-a0a8eefe4c9b" providerId="ADAL" clId="{70836690-86E7-4866-B5A4-0EEE097F66C1}" dt="2023-08-07T16:48:17.077" v="952" actId="729"/>
        <pc:sldMkLst>
          <pc:docMk/>
          <pc:sldMk cId="494587167" sldId="2147472219"/>
        </pc:sldMkLst>
      </pc:sldChg>
      <pc:sldChg chg="modSp mod modShow">
        <pc:chgData name="Alvillar, Jerry" userId="f6f4cae8-2a2b-4f03-a033-a0a8eefe4c9b" providerId="ADAL" clId="{70836690-86E7-4866-B5A4-0EEE097F66C1}" dt="2023-08-07T16:49:59.583" v="956" actId="13926"/>
        <pc:sldMkLst>
          <pc:docMk/>
          <pc:sldMk cId="519881373" sldId="2147472220"/>
        </pc:sldMkLst>
        <pc:graphicFrameChg chg="modGraphic">
          <ac:chgData name="Alvillar, Jerry" userId="f6f4cae8-2a2b-4f03-a033-a0a8eefe4c9b" providerId="ADAL" clId="{70836690-86E7-4866-B5A4-0EEE097F66C1}" dt="2023-08-07T16:49:59.583" v="956" actId="13926"/>
          <ac:graphicFrameMkLst>
            <pc:docMk/>
            <pc:sldMk cId="519881373" sldId="2147472220"/>
            <ac:graphicFrameMk id="4" creationId="{04CBF5CC-4415-44EF-BA29-C02969A70328}"/>
          </ac:graphicFrameMkLst>
        </pc:graphicFrameChg>
      </pc:sldChg>
      <pc:sldChg chg="del mod modShow">
        <pc:chgData name="Alvillar, Jerry" userId="f6f4cae8-2a2b-4f03-a033-a0a8eefe4c9b" providerId="ADAL" clId="{70836690-86E7-4866-B5A4-0EEE097F66C1}" dt="2023-08-07T16:27:44.383" v="862" actId="47"/>
        <pc:sldMkLst>
          <pc:docMk/>
          <pc:sldMk cId="1951538290" sldId="2147472221"/>
        </pc:sldMkLst>
      </pc:sldChg>
      <pc:sldChg chg="del">
        <pc:chgData name="Alvillar, Jerry" userId="f6f4cae8-2a2b-4f03-a033-a0a8eefe4c9b" providerId="ADAL" clId="{70836690-86E7-4866-B5A4-0EEE097F66C1}" dt="2023-08-07T16:23:58.156" v="856" actId="47"/>
        <pc:sldMkLst>
          <pc:docMk/>
          <pc:sldMk cId="1292031170" sldId="2147472222"/>
        </pc:sldMkLst>
      </pc:sldChg>
      <pc:sldChg chg="mod modShow">
        <pc:chgData name="Alvillar, Jerry" userId="f6f4cae8-2a2b-4f03-a033-a0a8eefe4c9b" providerId="ADAL" clId="{70836690-86E7-4866-B5A4-0EEE097F66C1}" dt="2023-08-07T16:27:47.858" v="863" actId="729"/>
        <pc:sldMkLst>
          <pc:docMk/>
          <pc:sldMk cId="3517751329" sldId="2147472223"/>
        </pc:sldMkLst>
      </pc:sldChg>
      <pc:sldChg chg="modSp mod modShow">
        <pc:chgData name="Alvillar, Jerry" userId="f6f4cae8-2a2b-4f03-a033-a0a8eefe4c9b" providerId="ADAL" clId="{70836690-86E7-4866-B5A4-0EEE097F66C1}" dt="2023-08-07T16:48:46.884" v="953" actId="729"/>
        <pc:sldMkLst>
          <pc:docMk/>
          <pc:sldMk cId="1188060110" sldId="2147472224"/>
        </pc:sldMkLst>
        <pc:spChg chg="mod">
          <ac:chgData name="Alvillar, Jerry" userId="f6f4cae8-2a2b-4f03-a033-a0a8eefe4c9b" providerId="ADAL" clId="{70836690-86E7-4866-B5A4-0EEE097F66C1}" dt="2023-08-07T16:29:09.427" v="869" actId="1076"/>
          <ac:spMkLst>
            <pc:docMk/>
            <pc:sldMk cId="1188060110" sldId="2147472224"/>
            <ac:spMk id="21" creationId="{DC4EC4A1-F2A8-46C0-9DB8-9044030FEF77}"/>
          </ac:spMkLst>
        </pc:spChg>
        <pc:graphicFrameChg chg="mod">
          <ac:chgData name="Alvillar, Jerry" userId="f6f4cae8-2a2b-4f03-a033-a0a8eefe4c9b" providerId="ADAL" clId="{70836690-86E7-4866-B5A4-0EEE097F66C1}" dt="2023-08-07T16:29:13.304" v="870" actId="1076"/>
          <ac:graphicFrameMkLst>
            <pc:docMk/>
            <pc:sldMk cId="1188060110" sldId="2147472224"/>
            <ac:graphicFrameMk id="27" creationId="{518B5387-EEA9-49CC-8804-1ECD6BE7A834}"/>
          </ac:graphicFrameMkLst>
        </pc:graphicFrameChg>
      </pc:sldChg>
      <pc:sldChg chg="mod modShow">
        <pc:chgData name="Alvillar, Jerry" userId="f6f4cae8-2a2b-4f03-a033-a0a8eefe4c9b" providerId="ADAL" clId="{70836690-86E7-4866-B5A4-0EEE097F66C1}" dt="2023-08-07T16:29:24.742" v="871" actId="729"/>
        <pc:sldMkLst>
          <pc:docMk/>
          <pc:sldMk cId="4215056789" sldId="2147472225"/>
        </pc:sldMkLst>
      </pc:sldChg>
      <pc:sldChg chg="del">
        <pc:chgData name="Alvillar, Jerry" userId="f6f4cae8-2a2b-4f03-a033-a0a8eefe4c9b" providerId="ADAL" clId="{70836690-86E7-4866-B5A4-0EEE097F66C1}" dt="2023-08-07T16:52:44.984" v="960" actId="47"/>
        <pc:sldMkLst>
          <pc:docMk/>
          <pc:sldMk cId="961084341" sldId="2147472226"/>
        </pc:sldMkLst>
      </pc:sldChg>
      <pc:sldChg chg="modSp new mod ord">
        <pc:chgData name="Alvillar, Jerry" userId="f6f4cae8-2a2b-4f03-a033-a0a8eefe4c9b" providerId="ADAL" clId="{70836690-86E7-4866-B5A4-0EEE097F66C1}" dt="2023-08-07T18:31:05.535" v="2231" actId="15"/>
        <pc:sldMkLst>
          <pc:docMk/>
          <pc:sldMk cId="3360715190" sldId="2147472226"/>
        </pc:sldMkLst>
        <pc:spChg chg="mod">
          <ac:chgData name="Alvillar, Jerry" userId="f6f4cae8-2a2b-4f03-a033-a0a8eefe4c9b" providerId="ADAL" clId="{70836690-86E7-4866-B5A4-0EEE097F66C1}" dt="2023-08-07T17:30:36.543" v="1253" actId="20577"/>
          <ac:spMkLst>
            <pc:docMk/>
            <pc:sldMk cId="3360715190" sldId="2147472226"/>
            <ac:spMk id="2" creationId="{859E31E5-BE7B-41AB-8ADF-AC60552C5D9C}"/>
          </ac:spMkLst>
        </pc:spChg>
        <pc:spChg chg="mod">
          <ac:chgData name="Alvillar, Jerry" userId="f6f4cae8-2a2b-4f03-a033-a0a8eefe4c9b" providerId="ADAL" clId="{70836690-86E7-4866-B5A4-0EEE097F66C1}" dt="2023-08-07T18:31:05.535" v="2231" actId="15"/>
          <ac:spMkLst>
            <pc:docMk/>
            <pc:sldMk cId="3360715190" sldId="2147472226"/>
            <ac:spMk id="3" creationId="{D83B14C8-5262-453A-80F2-15B69896AFD2}"/>
          </ac:spMkLst>
        </pc:spChg>
      </pc:sldChg>
      <pc:sldChg chg="modSp del mod">
        <pc:chgData name="Alvillar, Jerry" userId="f6f4cae8-2a2b-4f03-a033-a0a8eefe4c9b" providerId="ADAL" clId="{70836690-86E7-4866-B5A4-0EEE097F66C1}" dt="2023-08-07T16:52:44.984" v="960" actId="47"/>
        <pc:sldMkLst>
          <pc:docMk/>
          <pc:sldMk cId="1458425013" sldId="2147472227"/>
        </pc:sldMkLst>
        <pc:spChg chg="mod">
          <ac:chgData name="Alvillar, Jerry" userId="f6f4cae8-2a2b-4f03-a033-a0a8eefe4c9b" providerId="ADAL" clId="{70836690-86E7-4866-B5A4-0EEE097F66C1}" dt="2023-08-07T16:43:18.738" v="898" actId="1076"/>
          <ac:spMkLst>
            <pc:docMk/>
            <pc:sldMk cId="1458425013" sldId="2147472227"/>
            <ac:spMk id="3" creationId="{19556D87-4C9A-4615-AE7D-F3161B4E4948}"/>
          </ac:spMkLst>
        </pc:spChg>
        <pc:picChg chg="mod">
          <ac:chgData name="Alvillar, Jerry" userId="f6f4cae8-2a2b-4f03-a033-a0a8eefe4c9b" providerId="ADAL" clId="{70836690-86E7-4866-B5A4-0EEE097F66C1}" dt="2023-08-07T16:46:06.349" v="944" actId="14100"/>
          <ac:picMkLst>
            <pc:docMk/>
            <pc:sldMk cId="1458425013" sldId="2147472227"/>
            <ac:picMk id="13" creationId="{D56C1DFA-3DE3-4467-A28B-1303CD7111CC}"/>
          </ac:picMkLst>
        </pc:picChg>
        <pc:picChg chg="mod">
          <ac:chgData name="Alvillar, Jerry" userId="f6f4cae8-2a2b-4f03-a033-a0a8eefe4c9b" providerId="ADAL" clId="{70836690-86E7-4866-B5A4-0EEE097F66C1}" dt="2023-08-07T16:43:33.484" v="903" actId="14100"/>
          <ac:picMkLst>
            <pc:docMk/>
            <pc:sldMk cId="1458425013" sldId="2147472227"/>
            <ac:picMk id="15" creationId="{29E5A457-5963-41EA-B0C0-52E7F7502D58}"/>
          </ac:picMkLst>
        </pc:picChg>
        <pc:picChg chg="mod">
          <ac:chgData name="Alvillar, Jerry" userId="f6f4cae8-2a2b-4f03-a033-a0a8eefe4c9b" providerId="ADAL" clId="{70836690-86E7-4866-B5A4-0EEE097F66C1}" dt="2023-08-07T16:43:18.738" v="898" actId="1076"/>
          <ac:picMkLst>
            <pc:docMk/>
            <pc:sldMk cId="1458425013" sldId="2147472227"/>
            <ac:picMk id="17" creationId="{038A9F7A-8793-4210-9701-330B3C24F288}"/>
          </ac:picMkLst>
        </pc:picChg>
        <pc:picChg chg="mod">
          <ac:chgData name="Alvillar, Jerry" userId="f6f4cae8-2a2b-4f03-a033-a0a8eefe4c9b" providerId="ADAL" clId="{70836690-86E7-4866-B5A4-0EEE097F66C1}" dt="2023-08-07T16:43:18.738" v="898" actId="1076"/>
          <ac:picMkLst>
            <pc:docMk/>
            <pc:sldMk cId="1458425013" sldId="2147472227"/>
            <ac:picMk id="19" creationId="{5D752910-B3EF-4C24-9F1D-315DD4FFF457}"/>
          </ac:picMkLst>
        </pc:picChg>
      </pc:sldChg>
      <pc:sldChg chg="new del">
        <pc:chgData name="Alvillar, Jerry" userId="f6f4cae8-2a2b-4f03-a033-a0a8eefe4c9b" providerId="ADAL" clId="{70836690-86E7-4866-B5A4-0EEE097F66C1}" dt="2023-08-07T17:34:15.443" v="1310" actId="47"/>
        <pc:sldMkLst>
          <pc:docMk/>
          <pc:sldMk cId="3856758577" sldId="2147472227"/>
        </pc:sldMkLst>
      </pc:sldChg>
      <pc:sldChg chg="modSp del mod">
        <pc:chgData name="Alvillar, Jerry" userId="f6f4cae8-2a2b-4f03-a033-a0a8eefe4c9b" providerId="ADAL" clId="{70836690-86E7-4866-B5A4-0EEE097F66C1}" dt="2023-08-07T16:52:44.984" v="960" actId="47"/>
        <pc:sldMkLst>
          <pc:docMk/>
          <pc:sldMk cId="1404130063" sldId="2147472228"/>
        </pc:sldMkLst>
        <pc:picChg chg="mod">
          <ac:chgData name="Alvillar, Jerry" userId="f6f4cae8-2a2b-4f03-a033-a0a8eefe4c9b" providerId="ADAL" clId="{70836690-86E7-4866-B5A4-0EEE097F66C1}" dt="2023-08-07T16:46:25.658" v="950" actId="14100"/>
          <ac:picMkLst>
            <pc:docMk/>
            <pc:sldMk cId="1404130063" sldId="2147472228"/>
            <ac:picMk id="6" creationId="{31DFE47A-8882-46CA-AC1E-FC4AFE29F4FC}"/>
          </ac:picMkLst>
        </pc:picChg>
        <pc:picChg chg="mod">
          <ac:chgData name="Alvillar, Jerry" userId="f6f4cae8-2a2b-4f03-a033-a0a8eefe4c9b" providerId="ADAL" clId="{70836690-86E7-4866-B5A4-0EEE097F66C1}" dt="2023-08-07T16:46:21.635" v="949" actId="14100"/>
          <ac:picMkLst>
            <pc:docMk/>
            <pc:sldMk cId="1404130063" sldId="2147472228"/>
            <ac:picMk id="8" creationId="{A7054D5F-2CEE-4878-9AB2-346FC823A941}"/>
          </ac:picMkLst>
        </pc:picChg>
        <pc:picChg chg="mod">
          <ac:chgData name="Alvillar, Jerry" userId="f6f4cae8-2a2b-4f03-a033-a0a8eefe4c9b" providerId="ADAL" clId="{70836690-86E7-4866-B5A4-0EEE097F66C1}" dt="2023-08-07T16:46:19.235" v="948" actId="1076"/>
          <ac:picMkLst>
            <pc:docMk/>
            <pc:sldMk cId="1404130063" sldId="2147472228"/>
            <ac:picMk id="10" creationId="{76D9A73C-DE4A-4BCE-8700-E89A96A64975}"/>
          </ac:picMkLst>
        </pc:picChg>
        <pc:picChg chg="mod">
          <ac:chgData name="Alvillar, Jerry" userId="f6f4cae8-2a2b-4f03-a033-a0a8eefe4c9b" providerId="ADAL" clId="{70836690-86E7-4866-B5A4-0EEE097F66C1}" dt="2023-08-07T16:46:16.417" v="947" actId="1076"/>
          <ac:picMkLst>
            <pc:docMk/>
            <pc:sldMk cId="1404130063" sldId="2147472228"/>
            <ac:picMk id="11" creationId="{C9FBC193-B293-4330-B794-881C7EF313C7}"/>
          </ac:picMkLst>
        </pc:picChg>
        <pc:picChg chg="mod">
          <ac:chgData name="Alvillar, Jerry" userId="f6f4cae8-2a2b-4f03-a033-a0a8eefe4c9b" providerId="ADAL" clId="{70836690-86E7-4866-B5A4-0EEE097F66C1}" dt="2023-08-07T16:46:13.247" v="946" actId="1076"/>
          <ac:picMkLst>
            <pc:docMk/>
            <pc:sldMk cId="1404130063" sldId="2147472228"/>
            <ac:picMk id="13" creationId="{72502A6E-FC33-4B51-BAD9-FC90E6432BC3}"/>
          </ac:picMkLst>
        </pc:picChg>
      </pc:sldChg>
      <pc:sldChg chg="addSp delSp modSp new mod ord">
        <pc:chgData name="Alvillar, Jerry" userId="f6f4cae8-2a2b-4f03-a033-a0a8eefe4c9b" providerId="ADAL" clId="{70836690-86E7-4866-B5A4-0EEE097F66C1}" dt="2023-08-07T17:52:43.114" v="2220" actId="20577"/>
        <pc:sldMkLst>
          <pc:docMk/>
          <pc:sldMk cId="2342889030" sldId="2147472228"/>
        </pc:sldMkLst>
        <pc:spChg chg="mod">
          <ac:chgData name="Alvillar, Jerry" userId="f6f4cae8-2a2b-4f03-a033-a0a8eefe4c9b" providerId="ADAL" clId="{70836690-86E7-4866-B5A4-0EEE097F66C1}" dt="2023-08-07T17:49:40.658" v="2201" actId="20577"/>
          <ac:spMkLst>
            <pc:docMk/>
            <pc:sldMk cId="2342889030" sldId="2147472228"/>
            <ac:spMk id="2" creationId="{1AFD767F-8294-410C-BF28-2EAAC71D5C4F}"/>
          </ac:spMkLst>
        </pc:spChg>
        <pc:spChg chg="del">
          <ac:chgData name="Alvillar, Jerry" userId="f6f4cae8-2a2b-4f03-a033-a0a8eefe4c9b" providerId="ADAL" clId="{70836690-86E7-4866-B5A4-0EEE097F66C1}" dt="2023-08-07T17:37:55.840" v="1359" actId="478"/>
          <ac:spMkLst>
            <pc:docMk/>
            <pc:sldMk cId="2342889030" sldId="2147472228"/>
            <ac:spMk id="3" creationId="{1BEC63D2-3B91-40D3-B71E-B0DDDEA12A63}"/>
          </ac:spMkLst>
        </pc:spChg>
        <pc:spChg chg="add mod">
          <ac:chgData name="Alvillar, Jerry" userId="f6f4cae8-2a2b-4f03-a033-a0a8eefe4c9b" providerId="ADAL" clId="{70836690-86E7-4866-B5A4-0EEE097F66C1}" dt="2023-08-07T17:52:43.114" v="2220" actId="20577"/>
          <ac:spMkLst>
            <pc:docMk/>
            <pc:sldMk cId="2342889030" sldId="2147472228"/>
            <ac:spMk id="11" creationId="{6E16865E-47AF-441F-9340-B1C953CF48CD}"/>
          </ac:spMkLst>
        </pc:spChg>
        <pc:picChg chg="add del mod">
          <ac:chgData name="Alvillar, Jerry" userId="f6f4cae8-2a2b-4f03-a033-a0a8eefe4c9b" providerId="ADAL" clId="{70836690-86E7-4866-B5A4-0EEE097F66C1}" dt="2023-08-07T17:38:56.073" v="1363" actId="478"/>
          <ac:picMkLst>
            <pc:docMk/>
            <pc:sldMk cId="2342889030" sldId="2147472228"/>
            <ac:picMk id="6" creationId="{5AE8C5EB-7D7C-4EFF-B34B-587D6BEE26CD}"/>
          </ac:picMkLst>
        </pc:picChg>
        <pc:picChg chg="add mod">
          <ac:chgData name="Alvillar, Jerry" userId="f6f4cae8-2a2b-4f03-a033-a0a8eefe4c9b" providerId="ADAL" clId="{70836690-86E7-4866-B5A4-0EEE097F66C1}" dt="2023-08-07T17:50:51.418" v="2209" actId="14100"/>
          <ac:picMkLst>
            <pc:docMk/>
            <pc:sldMk cId="2342889030" sldId="2147472228"/>
            <ac:picMk id="8" creationId="{DAF8D133-94D0-40DC-9630-9A48E98E09C7}"/>
          </ac:picMkLst>
        </pc:picChg>
        <pc:picChg chg="add mod">
          <ac:chgData name="Alvillar, Jerry" userId="f6f4cae8-2a2b-4f03-a033-a0a8eefe4c9b" providerId="ADAL" clId="{70836690-86E7-4866-B5A4-0EEE097F66C1}" dt="2023-08-07T17:50:54.191" v="2210" actId="14100"/>
          <ac:picMkLst>
            <pc:docMk/>
            <pc:sldMk cId="2342889030" sldId="2147472228"/>
            <ac:picMk id="10" creationId="{004AD8B5-ECED-4BC8-B50B-535FC772FC84}"/>
          </ac:picMkLst>
        </pc:picChg>
        <pc:picChg chg="add mod">
          <ac:chgData name="Alvillar, Jerry" userId="f6f4cae8-2a2b-4f03-a033-a0a8eefe4c9b" providerId="ADAL" clId="{70836690-86E7-4866-B5A4-0EEE097F66C1}" dt="2023-08-07T17:50:12.486" v="2202" actId="1076"/>
          <ac:picMkLst>
            <pc:docMk/>
            <pc:sldMk cId="2342889030" sldId="2147472228"/>
            <ac:picMk id="13" creationId="{DE08EC96-270D-4F15-BF2B-D8018DE0C0E8}"/>
          </ac:picMkLst>
        </pc:picChg>
        <pc:picChg chg="add mod">
          <ac:chgData name="Alvillar, Jerry" userId="f6f4cae8-2a2b-4f03-a033-a0a8eefe4c9b" providerId="ADAL" clId="{70836690-86E7-4866-B5A4-0EEE097F66C1}" dt="2023-08-07T17:51:47.815" v="2215" actId="1076"/>
          <ac:picMkLst>
            <pc:docMk/>
            <pc:sldMk cId="2342889030" sldId="2147472228"/>
            <ac:picMk id="15" creationId="{0AE7007A-42E4-434C-A139-D5696DC694FB}"/>
          </ac:picMkLst>
        </pc:picChg>
      </pc:sldChg>
      <pc:sldChg chg="new del">
        <pc:chgData name="Alvillar, Jerry" userId="f6f4cae8-2a2b-4f03-a033-a0a8eefe4c9b" providerId="ADAL" clId="{70836690-86E7-4866-B5A4-0EEE097F66C1}" dt="2023-08-07T17:34:09.136" v="1308" actId="47"/>
        <pc:sldMkLst>
          <pc:docMk/>
          <pc:sldMk cId="2852459348" sldId="2147472228"/>
        </pc:sldMkLst>
      </pc:sldChg>
      <pc:sldChg chg="modSp new del mod">
        <pc:chgData name="Alvillar, Jerry" userId="f6f4cae8-2a2b-4f03-a033-a0a8eefe4c9b" providerId="ADAL" clId="{70836690-86E7-4866-B5A4-0EEE097F66C1}" dt="2023-08-07T17:33:59.941" v="1306" actId="47"/>
        <pc:sldMkLst>
          <pc:docMk/>
          <pc:sldMk cId="3027125458" sldId="2147472228"/>
        </pc:sldMkLst>
        <pc:spChg chg="mod">
          <ac:chgData name="Alvillar, Jerry" userId="f6f4cae8-2a2b-4f03-a033-a0a8eefe4c9b" providerId="ADAL" clId="{70836690-86E7-4866-B5A4-0EEE097F66C1}" dt="2023-08-07T17:33:54.061" v="1305" actId="1076"/>
          <ac:spMkLst>
            <pc:docMk/>
            <pc:sldMk cId="3027125458" sldId="2147472228"/>
            <ac:spMk id="3" creationId="{2F85C81A-5F81-4E79-B6B6-C55A86E7CF18}"/>
          </ac:spMkLst>
        </pc:spChg>
      </pc:sldChg>
      <pc:sldChg chg="del">
        <pc:chgData name="Alvillar, Jerry" userId="f6f4cae8-2a2b-4f03-a033-a0a8eefe4c9b" providerId="ADAL" clId="{70836690-86E7-4866-B5A4-0EEE097F66C1}" dt="2023-08-07T16:52:44.984" v="960" actId="47"/>
        <pc:sldMkLst>
          <pc:docMk/>
          <pc:sldMk cId="1555041545" sldId="2147472229"/>
        </pc:sldMkLst>
      </pc:sldChg>
      <pc:sldChg chg="new del">
        <pc:chgData name="Alvillar, Jerry" userId="f6f4cae8-2a2b-4f03-a033-a0a8eefe4c9b" providerId="ADAL" clId="{70836690-86E7-4866-B5A4-0EEE097F66C1}" dt="2023-08-07T17:34:37.015" v="1312" actId="47"/>
        <pc:sldMkLst>
          <pc:docMk/>
          <pc:sldMk cId="2499163316" sldId="2147472229"/>
        </pc:sldMkLst>
      </pc:sldChg>
      <pc:sldChg chg="new del">
        <pc:chgData name="Alvillar, Jerry" userId="f6f4cae8-2a2b-4f03-a033-a0a8eefe4c9b" providerId="ADAL" clId="{70836690-86E7-4866-B5A4-0EEE097F66C1}" dt="2023-08-07T17:34:45.989" v="1314" actId="47"/>
        <pc:sldMkLst>
          <pc:docMk/>
          <pc:sldMk cId="2521146501" sldId="2147472229"/>
        </pc:sldMkLst>
      </pc:sldChg>
      <pc:sldChg chg="del">
        <pc:chgData name="Alvillar, Jerry" userId="f6f4cae8-2a2b-4f03-a033-a0a8eefe4c9b" providerId="ADAL" clId="{70836690-86E7-4866-B5A4-0EEE097F66C1}" dt="2023-08-07T18:47:40.414" v="2435" actId="47"/>
        <pc:sldMkLst>
          <pc:docMk/>
          <pc:sldMk cId="3131585706" sldId="2147472229"/>
        </pc:sldMkLst>
      </pc:sldChg>
      <pc:sldChg chg="del">
        <pc:chgData name="Alvillar, Jerry" userId="f6f4cae8-2a2b-4f03-a033-a0a8eefe4c9b" providerId="ADAL" clId="{70836690-86E7-4866-B5A4-0EEE097F66C1}" dt="2023-08-07T16:47:18.420" v="951" actId="47"/>
        <pc:sldMkLst>
          <pc:docMk/>
          <pc:sldMk cId="2008630095" sldId="2147472230"/>
        </pc:sldMkLst>
      </pc:sldChg>
      <pc:sldChg chg="addSp delSp modSp new mod">
        <pc:chgData name="Alvillar, Jerry" userId="f6f4cae8-2a2b-4f03-a033-a0a8eefe4c9b" providerId="ADAL" clId="{70836690-86E7-4866-B5A4-0EEE097F66C1}" dt="2023-08-07T18:36:12.033" v="2236" actId="14100"/>
        <pc:sldMkLst>
          <pc:docMk/>
          <pc:sldMk cId="4223386410" sldId="2147472230"/>
        </pc:sldMkLst>
        <pc:spChg chg="del">
          <ac:chgData name="Alvillar, Jerry" userId="f6f4cae8-2a2b-4f03-a033-a0a8eefe4c9b" providerId="ADAL" clId="{70836690-86E7-4866-B5A4-0EEE097F66C1}" dt="2023-08-07T18:35:39.298" v="2233" actId="22"/>
          <ac:spMkLst>
            <pc:docMk/>
            <pc:sldMk cId="4223386410" sldId="2147472230"/>
            <ac:spMk id="3" creationId="{B6508EDE-7813-4DF3-8A72-B7EE640F6994}"/>
          </ac:spMkLst>
        </pc:spChg>
        <pc:picChg chg="add mod ord">
          <ac:chgData name="Alvillar, Jerry" userId="f6f4cae8-2a2b-4f03-a033-a0a8eefe4c9b" providerId="ADAL" clId="{70836690-86E7-4866-B5A4-0EEE097F66C1}" dt="2023-08-07T18:36:12.033" v="2236" actId="14100"/>
          <ac:picMkLst>
            <pc:docMk/>
            <pc:sldMk cId="4223386410" sldId="2147472230"/>
            <ac:picMk id="6" creationId="{160DFA02-EBD0-471A-913E-2F720B5322A7}"/>
          </ac:picMkLst>
        </pc:picChg>
      </pc:sldChg>
      <pc:sldChg chg="addSp delSp modSp del mod">
        <pc:chgData name="Alvillar, Jerry" userId="f6f4cae8-2a2b-4f03-a033-a0a8eefe4c9b" providerId="ADAL" clId="{70836690-86E7-4866-B5A4-0EEE097F66C1}" dt="2023-08-07T15:28:21.627" v="853" actId="47"/>
        <pc:sldMkLst>
          <pc:docMk/>
          <pc:sldMk cId="2374172112" sldId="2147472231"/>
        </pc:sldMkLst>
        <pc:spChg chg="add mod">
          <ac:chgData name="Alvillar, Jerry" userId="f6f4cae8-2a2b-4f03-a033-a0a8eefe4c9b" providerId="ADAL" clId="{70836690-86E7-4866-B5A4-0EEE097F66C1}" dt="2023-08-07T15:28:19.086" v="852" actId="478"/>
          <ac:spMkLst>
            <pc:docMk/>
            <pc:sldMk cId="2374172112" sldId="2147472231"/>
            <ac:spMk id="5" creationId="{9D358E0B-3EED-4C6F-AA9B-C887C3B2B706}"/>
          </ac:spMkLst>
        </pc:spChg>
        <pc:picChg chg="del">
          <ac:chgData name="Alvillar, Jerry" userId="f6f4cae8-2a2b-4f03-a033-a0a8eefe4c9b" providerId="ADAL" clId="{70836690-86E7-4866-B5A4-0EEE097F66C1}" dt="2023-08-07T15:28:19.086" v="852" actId="478"/>
          <ac:picMkLst>
            <pc:docMk/>
            <pc:sldMk cId="2374172112" sldId="2147472231"/>
            <ac:picMk id="7" creationId="{CD28ADD8-BA28-4804-B259-1BF0A82D0819}"/>
          </ac:picMkLst>
        </pc:picChg>
      </pc:sldChg>
      <pc:sldMasterChg chg="delSldLayout">
        <pc:chgData name="Alvillar, Jerry" userId="f6f4cae8-2a2b-4f03-a033-a0a8eefe4c9b" providerId="ADAL" clId="{70836690-86E7-4866-B5A4-0EEE097F66C1}" dt="2023-08-04T23:27:23.698" v="176" actId="47"/>
        <pc:sldMasterMkLst>
          <pc:docMk/>
          <pc:sldMasterMk cId="2530762699" sldId="2147483701"/>
        </pc:sldMasterMkLst>
        <pc:sldLayoutChg chg="del">
          <pc:chgData name="Alvillar, Jerry" userId="f6f4cae8-2a2b-4f03-a033-a0a8eefe4c9b" providerId="ADAL" clId="{70836690-86E7-4866-B5A4-0EEE097F66C1}" dt="2023-08-04T23:26:58.876" v="163" actId="47"/>
          <pc:sldLayoutMkLst>
            <pc:docMk/>
            <pc:sldMasterMk cId="2530762699" sldId="2147483701"/>
            <pc:sldLayoutMk cId="3445329458" sldId="2147483744"/>
          </pc:sldLayoutMkLst>
        </pc:sldLayoutChg>
        <pc:sldLayoutChg chg="del">
          <pc:chgData name="Alvillar, Jerry" userId="f6f4cae8-2a2b-4f03-a033-a0a8eefe4c9b" providerId="ADAL" clId="{70836690-86E7-4866-B5A4-0EEE097F66C1}" dt="2023-08-04T23:27:23.698" v="176" actId="47"/>
          <pc:sldLayoutMkLst>
            <pc:docMk/>
            <pc:sldMasterMk cId="2530762699" sldId="2147483701"/>
            <pc:sldLayoutMk cId="3277935455" sldId="2147483746"/>
          </pc:sldLayoutMkLst>
        </pc:sldLayoutChg>
        <pc:sldLayoutChg chg="del">
          <pc:chgData name="Alvillar, Jerry" userId="f6f4cae8-2a2b-4f03-a033-a0a8eefe4c9b" providerId="ADAL" clId="{70836690-86E7-4866-B5A4-0EEE097F66C1}" dt="2023-08-04T23:27:15.836" v="175" actId="47"/>
          <pc:sldLayoutMkLst>
            <pc:docMk/>
            <pc:sldMasterMk cId="2530762699" sldId="2147483701"/>
            <pc:sldLayoutMk cId="2930520117" sldId="2147483747"/>
          </pc:sldLayoutMkLst>
        </pc:sldLayoutChg>
      </pc:sldMasterChg>
    </pc:docChg>
  </pc:docChgLst>
  <pc:docChgLst>
    <pc:chgData name="Wise, Dana" userId="70e63ec6-51c5-46c7-b387-d3a85e40febb" providerId="ADAL" clId="{5F6AF4D4-9E70-48DC-AFAE-5B0BFBB50D61}"/>
    <pc:docChg chg="custSel addSld delSld modSld modMainMaster modNotesMaster">
      <pc:chgData name="Wise, Dana" userId="70e63ec6-51c5-46c7-b387-d3a85e40febb" providerId="ADAL" clId="{5F6AF4D4-9E70-48DC-AFAE-5B0BFBB50D61}" dt="2023-08-07T20:37:08.133" v="472" actId="20577"/>
      <pc:docMkLst>
        <pc:docMk/>
      </pc:docMkLst>
      <pc:sldChg chg="modSp mod">
        <pc:chgData name="Wise, Dana" userId="70e63ec6-51c5-46c7-b387-d3a85e40febb" providerId="ADAL" clId="{5F6AF4D4-9E70-48DC-AFAE-5B0BFBB50D61}" dt="2023-08-07T20:33:25.084" v="336" actId="122"/>
        <pc:sldMkLst>
          <pc:docMk/>
          <pc:sldMk cId="3552216212" sldId="256"/>
        </pc:sldMkLst>
        <pc:spChg chg="mod">
          <ac:chgData name="Wise, Dana" userId="70e63ec6-51c5-46c7-b387-d3a85e40febb" providerId="ADAL" clId="{5F6AF4D4-9E70-48DC-AFAE-5B0BFBB50D61}" dt="2023-08-07T19:56:41.541" v="0"/>
          <ac:spMkLst>
            <pc:docMk/>
            <pc:sldMk cId="3552216212" sldId="256"/>
            <ac:spMk id="2" creationId="{77E611BF-8160-44B3-808D-163F9DA17BE4}"/>
          </ac:spMkLst>
        </pc:spChg>
        <pc:spChg chg="mod">
          <ac:chgData name="Wise, Dana" userId="70e63ec6-51c5-46c7-b387-d3a85e40febb" providerId="ADAL" clId="{5F6AF4D4-9E70-48DC-AFAE-5B0BFBB50D61}" dt="2023-08-07T20:33:25.084" v="336" actId="122"/>
          <ac:spMkLst>
            <pc:docMk/>
            <pc:sldMk cId="3552216212" sldId="256"/>
            <ac:spMk id="3" creationId="{BB534FD6-59A0-4D62-9D99-5B6A4E67A256}"/>
          </ac:spMkLst>
        </pc:spChg>
      </pc:sldChg>
      <pc:sldChg chg="delSp modSp mod">
        <pc:chgData name="Wise, Dana" userId="70e63ec6-51c5-46c7-b387-d3a85e40febb" providerId="ADAL" clId="{5F6AF4D4-9E70-48DC-AFAE-5B0BFBB50D61}" dt="2023-08-07T20:32:54.487" v="330" actId="1076"/>
        <pc:sldMkLst>
          <pc:docMk/>
          <pc:sldMk cId="1746354171" sldId="258"/>
        </pc:sldMkLst>
        <pc:spChg chg="del mod">
          <ac:chgData name="Wise, Dana" userId="70e63ec6-51c5-46c7-b387-d3a85e40febb" providerId="ADAL" clId="{5F6AF4D4-9E70-48DC-AFAE-5B0BFBB50D61}" dt="2023-08-07T20:32:44.723" v="327" actId="478"/>
          <ac:spMkLst>
            <pc:docMk/>
            <pc:sldMk cId="1746354171" sldId="258"/>
            <ac:spMk id="2" creationId="{2FD7A0B6-5964-45AF-A099-E5E9734E7816}"/>
          </ac:spMkLst>
        </pc:spChg>
        <pc:spChg chg="mod">
          <ac:chgData name="Wise, Dana" userId="70e63ec6-51c5-46c7-b387-d3a85e40febb" providerId="ADAL" clId="{5F6AF4D4-9E70-48DC-AFAE-5B0BFBB50D61}" dt="2023-08-07T19:56:41.541" v="0"/>
          <ac:spMkLst>
            <pc:docMk/>
            <pc:sldMk cId="1746354171" sldId="258"/>
            <ac:spMk id="4" creationId="{889F172D-362E-4EEE-BE58-D319D1D3399E}"/>
          </ac:spMkLst>
        </pc:spChg>
        <pc:spChg chg="mod">
          <ac:chgData name="Wise, Dana" userId="70e63ec6-51c5-46c7-b387-d3a85e40febb" providerId="ADAL" clId="{5F6AF4D4-9E70-48DC-AFAE-5B0BFBB50D61}" dt="2023-08-07T20:32:49.814" v="328" actId="1076"/>
          <ac:spMkLst>
            <pc:docMk/>
            <pc:sldMk cId="1746354171" sldId="258"/>
            <ac:spMk id="7" creationId="{CECE1C34-0556-9654-5E21-A214D2C5D8BF}"/>
          </ac:spMkLst>
        </pc:spChg>
        <pc:spChg chg="mod ord">
          <ac:chgData name="Wise, Dana" userId="70e63ec6-51c5-46c7-b387-d3a85e40febb" providerId="ADAL" clId="{5F6AF4D4-9E70-48DC-AFAE-5B0BFBB50D61}" dt="2023-08-07T20:32:41.117" v="326" actId="167"/>
          <ac:spMkLst>
            <pc:docMk/>
            <pc:sldMk cId="1746354171" sldId="258"/>
            <ac:spMk id="8" creationId="{B8C3A900-9DEA-9F28-F835-7151761A326F}"/>
          </ac:spMkLst>
        </pc:spChg>
        <pc:spChg chg="mod">
          <ac:chgData name="Wise, Dana" userId="70e63ec6-51c5-46c7-b387-d3a85e40febb" providerId="ADAL" clId="{5F6AF4D4-9E70-48DC-AFAE-5B0BFBB50D61}" dt="2023-08-07T20:32:30.109" v="323" actId="14100"/>
          <ac:spMkLst>
            <pc:docMk/>
            <pc:sldMk cId="1746354171" sldId="258"/>
            <ac:spMk id="9" creationId="{C27DE766-D136-FF62-80C4-9156FA56347A}"/>
          </ac:spMkLst>
        </pc:spChg>
        <pc:spChg chg="mod">
          <ac:chgData name="Wise, Dana" userId="70e63ec6-51c5-46c7-b387-d3a85e40febb" providerId="ADAL" clId="{5F6AF4D4-9E70-48DC-AFAE-5B0BFBB50D61}" dt="2023-08-07T20:32:54.487" v="330" actId="1076"/>
          <ac:spMkLst>
            <pc:docMk/>
            <pc:sldMk cId="1746354171" sldId="258"/>
            <ac:spMk id="12" creationId="{22C5939A-FA09-654E-820C-7E5EE3816BD6}"/>
          </ac:spMkLst>
        </pc:spChg>
        <pc:picChg chg="mod">
          <ac:chgData name="Wise, Dana" userId="70e63ec6-51c5-46c7-b387-d3a85e40febb" providerId="ADAL" clId="{5F6AF4D4-9E70-48DC-AFAE-5B0BFBB50D61}" dt="2023-08-07T20:32:25.677" v="322" actId="1076"/>
          <ac:picMkLst>
            <pc:docMk/>
            <pc:sldMk cId="1746354171" sldId="258"/>
            <ac:picMk id="6" creationId="{FCE9D046-9B54-457C-506D-3AD32E583194}"/>
          </ac:picMkLst>
        </pc:picChg>
        <pc:picChg chg="mod">
          <ac:chgData name="Wise, Dana" userId="70e63ec6-51c5-46c7-b387-d3a85e40febb" providerId="ADAL" clId="{5F6AF4D4-9E70-48DC-AFAE-5B0BFBB50D61}" dt="2023-08-07T20:32:51.542" v="329" actId="1076"/>
          <ac:picMkLst>
            <pc:docMk/>
            <pc:sldMk cId="1746354171" sldId="258"/>
            <ac:picMk id="11" creationId="{DE4BCEA7-E3D0-C3A7-315E-85AE8037D272}"/>
          </ac:picMkLst>
        </pc:picChg>
      </pc:sldChg>
      <pc:sldChg chg="modSp del">
        <pc:chgData name="Wise, Dana" userId="70e63ec6-51c5-46c7-b387-d3a85e40febb" providerId="ADAL" clId="{5F6AF4D4-9E70-48DC-AFAE-5B0BFBB50D61}" dt="2023-08-07T19:58:17.731" v="12" actId="47"/>
        <pc:sldMkLst>
          <pc:docMk/>
          <pc:sldMk cId="1813695098" sldId="260"/>
        </pc:sldMkLst>
        <pc:spChg chg="mod">
          <ac:chgData name="Wise, Dana" userId="70e63ec6-51c5-46c7-b387-d3a85e40febb" providerId="ADAL" clId="{5F6AF4D4-9E70-48DC-AFAE-5B0BFBB50D61}" dt="2023-08-07T19:56:41.541" v="0"/>
          <ac:spMkLst>
            <pc:docMk/>
            <pc:sldMk cId="1813695098" sldId="260"/>
            <ac:spMk id="18" creationId="{C0CC32CF-9C61-402B-A4DE-F68DC55D202A}"/>
          </ac:spMkLst>
        </pc:spChg>
        <pc:spChg chg="mod">
          <ac:chgData name="Wise, Dana" userId="70e63ec6-51c5-46c7-b387-d3a85e40febb" providerId="ADAL" clId="{5F6AF4D4-9E70-48DC-AFAE-5B0BFBB50D61}" dt="2023-08-07T19:56:41.541" v="0"/>
          <ac:spMkLst>
            <pc:docMk/>
            <pc:sldMk cId="1813695098" sldId="260"/>
            <ac:spMk id="21" creationId="{DC4EC4A1-F2A8-46C0-9DB8-9044030FEF77}"/>
          </ac:spMkLst>
        </pc:spChg>
        <pc:graphicFrameChg chg="mod">
          <ac:chgData name="Wise, Dana" userId="70e63ec6-51c5-46c7-b387-d3a85e40febb" providerId="ADAL" clId="{5F6AF4D4-9E70-48DC-AFAE-5B0BFBB50D61}" dt="2023-08-07T19:56:41.541" v="0"/>
          <ac:graphicFrameMkLst>
            <pc:docMk/>
            <pc:sldMk cId="1813695098" sldId="260"/>
            <ac:graphicFrameMk id="22" creationId="{96CCAA6D-C3BA-4365-9F2A-7AEF9AE71605}"/>
          </ac:graphicFrameMkLst>
        </pc:graphicFrameChg>
        <pc:graphicFrameChg chg="mod">
          <ac:chgData name="Wise, Dana" userId="70e63ec6-51c5-46c7-b387-d3a85e40febb" providerId="ADAL" clId="{5F6AF4D4-9E70-48DC-AFAE-5B0BFBB50D61}" dt="2023-08-07T19:56:41.541" v="0"/>
          <ac:graphicFrameMkLst>
            <pc:docMk/>
            <pc:sldMk cId="1813695098" sldId="260"/>
            <ac:graphicFrameMk id="27" creationId="{518B5387-EEA9-49CC-8804-1ECD6BE7A834}"/>
          </ac:graphicFrameMkLst>
        </pc:graphicFrameChg>
        <pc:picChg chg="mod">
          <ac:chgData name="Wise, Dana" userId="70e63ec6-51c5-46c7-b387-d3a85e40febb" providerId="ADAL" clId="{5F6AF4D4-9E70-48DC-AFAE-5B0BFBB50D61}" dt="2023-08-07T19:56:41.541" v="0"/>
          <ac:picMkLst>
            <pc:docMk/>
            <pc:sldMk cId="1813695098" sldId="260"/>
            <ac:picMk id="4" creationId="{D3AAC89F-E10E-4A55-9593-25D00A981F4F}"/>
          </ac:picMkLst>
        </pc:picChg>
        <pc:picChg chg="mod">
          <ac:chgData name="Wise, Dana" userId="70e63ec6-51c5-46c7-b387-d3a85e40febb" providerId="ADAL" clId="{5F6AF4D4-9E70-48DC-AFAE-5B0BFBB50D61}" dt="2023-08-07T19:56:41.541" v="0"/>
          <ac:picMkLst>
            <pc:docMk/>
            <pc:sldMk cId="1813695098" sldId="260"/>
            <ac:picMk id="1026" creationId="{7DF7B381-3527-41CC-BF2D-17C77D055C4E}"/>
          </ac:picMkLst>
        </pc:picChg>
      </pc:sldChg>
      <pc:sldChg chg="addSp delSp modSp mod">
        <pc:chgData name="Wise, Dana" userId="70e63ec6-51c5-46c7-b387-d3a85e40febb" providerId="ADAL" clId="{5F6AF4D4-9E70-48DC-AFAE-5B0BFBB50D61}" dt="2023-08-07T20:33:32.077" v="338" actId="20577"/>
        <pc:sldMkLst>
          <pc:docMk/>
          <pc:sldMk cId="2895837635" sldId="261"/>
        </pc:sldMkLst>
        <pc:spChg chg="mod">
          <ac:chgData name="Wise, Dana" userId="70e63ec6-51c5-46c7-b387-d3a85e40febb" providerId="ADAL" clId="{5F6AF4D4-9E70-48DC-AFAE-5B0BFBB50D61}" dt="2023-08-07T20:33:28.827" v="337"/>
          <ac:spMkLst>
            <pc:docMk/>
            <pc:sldMk cId="2895837635" sldId="261"/>
            <ac:spMk id="2" creationId="{4CB5B91D-0A5E-4BD9-A4C8-CE0C70A3A40C}"/>
          </ac:spMkLst>
        </pc:spChg>
        <pc:spChg chg="add del mod">
          <ac:chgData name="Wise, Dana" userId="70e63ec6-51c5-46c7-b387-d3a85e40febb" providerId="ADAL" clId="{5F6AF4D4-9E70-48DC-AFAE-5B0BFBB50D61}" dt="2023-08-07T20:33:28.827" v="337"/>
          <ac:spMkLst>
            <pc:docMk/>
            <pc:sldMk cId="2895837635" sldId="261"/>
            <ac:spMk id="3" creationId="{C0409179-4E35-47A8-8E41-80C84F943AA0}"/>
          </ac:spMkLst>
        </pc:spChg>
        <pc:spChg chg="mod">
          <ac:chgData name="Wise, Dana" userId="70e63ec6-51c5-46c7-b387-d3a85e40febb" providerId="ADAL" clId="{5F6AF4D4-9E70-48DC-AFAE-5B0BFBB50D61}" dt="2023-08-07T20:33:28.827" v="337"/>
          <ac:spMkLst>
            <pc:docMk/>
            <pc:sldMk cId="2895837635" sldId="261"/>
            <ac:spMk id="4" creationId="{D2607E6F-AD79-46D1-B5A9-6387F3F7DA96}"/>
          </ac:spMkLst>
        </pc:spChg>
        <pc:spChg chg="add del mod">
          <ac:chgData name="Wise, Dana" userId="70e63ec6-51c5-46c7-b387-d3a85e40febb" providerId="ADAL" clId="{5F6AF4D4-9E70-48DC-AFAE-5B0BFBB50D61}" dt="2023-08-07T20:33:28.827" v="337"/>
          <ac:spMkLst>
            <pc:docMk/>
            <pc:sldMk cId="2895837635" sldId="261"/>
            <ac:spMk id="5" creationId="{097977FE-2EE8-4A4F-AF80-DCDCA61148CB}"/>
          </ac:spMkLst>
        </pc:spChg>
        <pc:spChg chg="add del mod">
          <ac:chgData name="Wise, Dana" userId="70e63ec6-51c5-46c7-b387-d3a85e40febb" providerId="ADAL" clId="{5F6AF4D4-9E70-48DC-AFAE-5B0BFBB50D61}" dt="2023-08-07T20:33:28.827" v="337"/>
          <ac:spMkLst>
            <pc:docMk/>
            <pc:sldMk cId="2895837635" sldId="261"/>
            <ac:spMk id="6" creationId="{537D243C-8891-46F9-9714-333B0762EDD4}"/>
          </ac:spMkLst>
        </pc:spChg>
        <pc:spChg chg="mod">
          <ac:chgData name="Wise, Dana" userId="70e63ec6-51c5-46c7-b387-d3a85e40febb" providerId="ADAL" clId="{5F6AF4D4-9E70-48DC-AFAE-5B0BFBB50D61}" dt="2023-08-07T20:33:32.077" v="338" actId="20577"/>
          <ac:spMkLst>
            <pc:docMk/>
            <pc:sldMk cId="2895837635" sldId="261"/>
            <ac:spMk id="13" creationId="{EA8627D0-7301-4F56-99B5-985248B5C3BD}"/>
          </ac:spMkLst>
        </pc:spChg>
      </pc:sldChg>
      <pc:sldChg chg="add mod modShow">
        <pc:chgData name="Wise, Dana" userId="70e63ec6-51c5-46c7-b387-d3a85e40febb" providerId="ADAL" clId="{5F6AF4D4-9E70-48DC-AFAE-5B0BFBB50D61}" dt="2023-08-07T19:58:22.548" v="13" actId="729"/>
        <pc:sldMkLst>
          <pc:docMk/>
          <pc:sldMk cId="2342395480" sldId="262"/>
        </pc:sldMkLst>
      </pc:sldChg>
      <pc:sldChg chg="modSp del modNotes">
        <pc:chgData name="Wise, Dana" userId="70e63ec6-51c5-46c7-b387-d3a85e40febb" providerId="ADAL" clId="{5F6AF4D4-9E70-48DC-AFAE-5B0BFBB50D61}" dt="2023-08-07T19:57:14.538" v="2" actId="47"/>
        <pc:sldMkLst>
          <pc:docMk/>
          <pc:sldMk cId="3797383439" sldId="266"/>
        </pc:sldMkLst>
        <pc:spChg chg="mod">
          <ac:chgData name="Wise, Dana" userId="70e63ec6-51c5-46c7-b387-d3a85e40febb" providerId="ADAL" clId="{5F6AF4D4-9E70-48DC-AFAE-5B0BFBB50D61}" dt="2023-08-07T19:56:41.541" v="0"/>
          <ac:spMkLst>
            <pc:docMk/>
            <pc:sldMk cId="3797383439" sldId="266"/>
            <ac:spMk id="2" creationId="{1551007F-2755-45A6-A0E6-41FA3AA896ED}"/>
          </ac:spMkLst>
        </pc:spChg>
        <pc:spChg chg="mod">
          <ac:chgData name="Wise, Dana" userId="70e63ec6-51c5-46c7-b387-d3a85e40febb" providerId="ADAL" clId="{5F6AF4D4-9E70-48DC-AFAE-5B0BFBB50D61}" dt="2023-08-07T19:56:41.541" v="0"/>
          <ac:spMkLst>
            <pc:docMk/>
            <pc:sldMk cId="3797383439" sldId="266"/>
            <ac:spMk id="8" creationId="{0809CC9D-EA6C-4394-9B9D-0A8848687F90}"/>
          </ac:spMkLst>
        </pc:spChg>
        <pc:spChg chg="mod">
          <ac:chgData name="Wise, Dana" userId="70e63ec6-51c5-46c7-b387-d3a85e40febb" providerId="ADAL" clId="{5F6AF4D4-9E70-48DC-AFAE-5B0BFBB50D61}" dt="2023-08-07T19:56:41.541" v="0"/>
          <ac:spMkLst>
            <pc:docMk/>
            <pc:sldMk cId="3797383439" sldId="266"/>
            <ac:spMk id="11" creationId="{3F367EEC-D81D-48D9-BBB1-3687E931A737}"/>
          </ac:spMkLst>
        </pc:spChg>
        <pc:graphicFrameChg chg="mod">
          <ac:chgData name="Wise, Dana" userId="70e63ec6-51c5-46c7-b387-d3a85e40febb" providerId="ADAL" clId="{5F6AF4D4-9E70-48DC-AFAE-5B0BFBB50D61}" dt="2023-08-07T19:56:41.541" v="0"/>
          <ac:graphicFrameMkLst>
            <pc:docMk/>
            <pc:sldMk cId="3797383439" sldId="266"/>
            <ac:graphicFrameMk id="4" creationId="{04CBF5CC-4415-44EF-BA29-C02969A70328}"/>
          </ac:graphicFrameMkLst>
        </pc:graphicFrameChg>
        <pc:picChg chg="mod">
          <ac:chgData name="Wise, Dana" userId="70e63ec6-51c5-46c7-b387-d3a85e40febb" providerId="ADAL" clId="{5F6AF4D4-9E70-48DC-AFAE-5B0BFBB50D61}" dt="2023-08-07T19:56:41.541" v="0"/>
          <ac:picMkLst>
            <pc:docMk/>
            <pc:sldMk cId="3797383439" sldId="266"/>
            <ac:picMk id="6" creationId="{89D03D8D-C1E7-476F-8B9D-EB1E49479994}"/>
          </ac:picMkLst>
        </pc:picChg>
        <pc:picChg chg="mod">
          <ac:chgData name="Wise, Dana" userId="70e63ec6-51c5-46c7-b387-d3a85e40febb" providerId="ADAL" clId="{5F6AF4D4-9E70-48DC-AFAE-5B0BFBB50D61}" dt="2023-08-07T19:56:41.541" v="0"/>
          <ac:picMkLst>
            <pc:docMk/>
            <pc:sldMk cId="3797383439" sldId="266"/>
            <ac:picMk id="13" creationId="{D490ED65-9110-4CD8-A44F-462745C134E6}"/>
          </ac:picMkLst>
        </pc:picChg>
        <pc:picChg chg="mod">
          <ac:chgData name="Wise, Dana" userId="70e63ec6-51c5-46c7-b387-d3a85e40febb" providerId="ADAL" clId="{5F6AF4D4-9E70-48DC-AFAE-5B0BFBB50D61}" dt="2023-08-07T19:56:41.541" v="0"/>
          <ac:picMkLst>
            <pc:docMk/>
            <pc:sldMk cId="3797383439" sldId="266"/>
            <ac:picMk id="14" creationId="{9E371331-2665-45D4-B908-F1674B64CCE3}"/>
          </ac:picMkLst>
        </pc:picChg>
      </pc:sldChg>
      <pc:sldChg chg="addSp delSp modSp mod">
        <pc:chgData name="Wise, Dana" userId="70e63ec6-51c5-46c7-b387-d3a85e40febb" providerId="ADAL" clId="{5F6AF4D4-9E70-48DC-AFAE-5B0BFBB50D61}" dt="2023-08-07T20:33:13.006" v="335" actId="404"/>
        <pc:sldMkLst>
          <pc:docMk/>
          <pc:sldMk cId="1103445011" sldId="318"/>
        </pc:sldMkLst>
        <pc:spChg chg="mod">
          <ac:chgData name="Wise, Dana" userId="70e63ec6-51c5-46c7-b387-d3a85e40febb" providerId="ADAL" clId="{5F6AF4D4-9E70-48DC-AFAE-5B0BFBB50D61}" dt="2023-08-07T20:33:13.006" v="335" actId="404"/>
          <ac:spMkLst>
            <pc:docMk/>
            <pc:sldMk cId="1103445011" sldId="318"/>
            <ac:spMk id="2" creationId="{BCB2094A-BF89-4BDB-AB51-F1AEC2CEB5C3}"/>
          </ac:spMkLst>
        </pc:spChg>
        <pc:spChg chg="mod">
          <ac:chgData name="Wise, Dana" userId="70e63ec6-51c5-46c7-b387-d3a85e40febb" providerId="ADAL" clId="{5F6AF4D4-9E70-48DC-AFAE-5B0BFBB50D61}" dt="2023-08-07T20:33:04.409" v="331"/>
          <ac:spMkLst>
            <pc:docMk/>
            <pc:sldMk cId="1103445011" sldId="318"/>
            <ac:spMk id="3" creationId="{BE9DD4DE-B768-4877-BBAD-939131D02562}"/>
          </ac:spMkLst>
        </pc:spChg>
        <pc:spChg chg="add del mod">
          <ac:chgData name="Wise, Dana" userId="70e63ec6-51c5-46c7-b387-d3a85e40febb" providerId="ADAL" clId="{5F6AF4D4-9E70-48DC-AFAE-5B0BFBB50D61}" dt="2023-08-07T20:33:04.409" v="331"/>
          <ac:spMkLst>
            <pc:docMk/>
            <pc:sldMk cId="1103445011" sldId="318"/>
            <ac:spMk id="4" creationId="{451E8D7C-2481-430A-B4F1-F6C7E18498DA}"/>
          </ac:spMkLst>
        </pc:spChg>
        <pc:spChg chg="add del mod">
          <ac:chgData name="Wise, Dana" userId="70e63ec6-51c5-46c7-b387-d3a85e40febb" providerId="ADAL" clId="{5F6AF4D4-9E70-48DC-AFAE-5B0BFBB50D61}" dt="2023-08-07T20:33:04.409" v="331"/>
          <ac:spMkLst>
            <pc:docMk/>
            <pc:sldMk cId="1103445011" sldId="318"/>
            <ac:spMk id="5" creationId="{ADA84B0C-463F-4D72-BE23-03483F419719}"/>
          </ac:spMkLst>
        </pc:spChg>
      </pc:sldChg>
      <pc:sldChg chg="modSp">
        <pc:chgData name="Wise, Dana" userId="70e63ec6-51c5-46c7-b387-d3a85e40febb" providerId="ADAL" clId="{5F6AF4D4-9E70-48DC-AFAE-5B0BFBB50D61}" dt="2023-08-07T19:56:41.541" v="0"/>
        <pc:sldMkLst>
          <pc:docMk/>
          <pc:sldMk cId="3861504043" sldId="319"/>
        </pc:sldMkLst>
        <pc:spChg chg="mod">
          <ac:chgData name="Wise, Dana" userId="70e63ec6-51c5-46c7-b387-d3a85e40febb" providerId="ADAL" clId="{5F6AF4D4-9E70-48DC-AFAE-5B0BFBB50D61}" dt="2023-08-07T19:56:41.541" v="0"/>
          <ac:spMkLst>
            <pc:docMk/>
            <pc:sldMk cId="3861504043" sldId="319"/>
            <ac:spMk id="3" creationId="{779A73BE-5DF5-4C53-8ADC-09D607993CD1}"/>
          </ac:spMkLst>
        </pc:spChg>
      </pc:sldChg>
      <pc:sldChg chg="modSp mod">
        <pc:chgData name="Wise, Dana" userId="70e63ec6-51c5-46c7-b387-d3a85e40febb" providerId="ADAL" clId="{5F6AF4D4-9E70-48DC-AFAE-5B0BFBB50D61}" dt="2023-08-07T20:03:26.881" v="319" actId="1076"/>
        <pc:sldMkLst>
          <pc:docMk/>
          <pc:sldMk cId="528327316" sldId="321"/>
        </pc:sldMkLst>
        <pc:spChg chg="mod">
          <ac:chgData name="Wise, Dana" userId="70e63ec6-51c5-46c7-b387-d3a85e40febb" providerId="ADAL" clId="{5F6AF4D4-9E70-48DC-AFAE-5B0BFBB50D61}" dt="2023-08-07T20:03:25.617" v="318" actId="14100"/>
          <ac:spMkLst>
            <pc:docMk/>
            <pc:sldMk cId="528327316" sldId="321"/>
            <ac:spMk id="3" creationId="{A955B68D-AD1E-4A6A-861F-8E882B5A8DA2}"/>
          </ac:spMkLst>
        </pc:spChg>
        <pc:picChg chg="mod">
          <ac:chgData name="Wise, Dana" userId="70e63ec6-51c5-46c7-b387-d3a85e40febb" providerId="ADAL" clId="{5F6AF4D4-9E70-48DC-AFAE-5B0BFBB50D61}" dt="2023-08-07T20:03:26.881" v="319" actId="1076"/>
          <ac:picMkLst>
            <pc:docMk/>
            <pc:sldMk cId="528327316" sldId="321"/>
            <ac:picMk id="6" creationId="{EF4E85D0-C31B-EF38-C322-66E30A6159DB}"/>
          </ac:picMkLst>
        </pc:picChg>
      </pc:sldChg>
      <pc:sldChg chg="modSp">
        <pc:chgData name="Wise, Dana" userId="70e63ec6-51c5-46c7-b387-d3a85e40febb" providerId="ADAL" clId="{5F6AF4D4-9E70-48DC-AFAE-5B0BFBB50D61}" dt="2023-08-07T19:56:41.541" v="0"/>
        <pc:sldMkLst>
          <pc:docMk/>
          <pc:sldMk cId="960210967" sldId="323"/>
        </pc:sldMkLst>
        <pc:picChg chg="mod">
          <ac:chgData name="Wise, Dana" userId="70e63ec6-51c5-46c7-b387-d3a85e40febb" providerId="ADAL" clId="{5F6AF4D4-9E70-48DC-AFAE-5B0BFBB50D61}" dt="2023-08-07T19:56:41.541" v="0"/>
          <ac:picMkLst>
            <pc:docMk/>
            <pc:sldMk cId="960210967" sldId="323"/>
            <ac:picMk id="6" creationId="{22F598FB-D3B6-4AAB-962B-47F2C0F066B3}"/>
          </ac:picMkLst>
        </pc:picChg>
      </pc:sldChg>
      <pc:sldChg chg="modSp mod">
        <pc:chgData name="Wise, Dana" userId="70e63ec6-51c5-46c7-b387-d3a85e40febb" providerId="ADAL" clId="{5F6AF4D4-9E70-48DC-AFAE-5B0BFBB50D61}" dt="2023-08-07T20:03:39.758" v="321" actId="20577"/>
        <pc:sldMkLst>
          <pc:docMk/>
          <pc:sldMk cId="3731937585" sldId="324"/>
        </pc:sldMkLst>
        <pc:spChg chg="mod">
          <ac:chgData name="Wise, Dana" userId="70e63ec6-51c5-46c7-b387-d3a85e40febb" providerId="ADAL" clId="{5F6AF4D4-9E70-48DC-AFAE-5B0BFBB50D61}" dt="2023-08-07T19:56:41.541" v="0"/>
          <ac:spMkLst>
            <pc:docMk/>
            <pc:sldMk cId="3731937585" sldId="324"/>
            <ac:spMk id="5" creationId="{BCE03DB7-7EE7-4134-A78C-931BE6AF313B}"/>
          </ac:spMkLst>
        </pc:spChg>
        <pc:spChg chg="mod">
          <ac:chgData name="Wise, Dana" userId="70e63ec6-51c5-46c7-b387-d3a85e40febb" providerId="ADAL" clId="{5F6AF4D4-9E70-48DC-AFAE-5B0BFBB50D61}" dt="2023-08-07T19:56:41.541" v="0"/>
          <ac:spMkLst>
            <pc:docMk/>
            <pc:sldMk cId="3731937585" sldId="324"/>
            <ac:spMk id="6" creationId="{F050EF85-D4D9-4664-BC5B-B93FC74BB57C}"/>
          </ac:spMkLst>
        </pc:spChg>
        <pc:spChg chg="mod">
          <ac:chgData name="Wise, Dana" userId="70e63ec6-51c5-46c7-b387-d3a85e40febb" providerId="ADAL" clId="{5F6AF4D4-9E70-48DC-AFAE-5B0BFBB50D61}" dt="2023-08-07T20:03:39.758" v="321" actId="20577"/>
          <ac:spMkLst>
            <pc:docMk/>
            <pc:sldMk cId="3731937585" sldId="324"/>
            <ac:spMk id="7" creationId="{2DECBFBD-5A80-4A3F-8723-1346760A8620}"/>
          </ac:spMkLst>
        </pc:spChg>
        <pc:picChg chg="mod">
          <ac:chgData name="Wise, Dana" userId="70e63ec6-51c5-46c7-b387-d3a85e40febb" providerId="ADAL" clId="{5F6AF4D4-9E70-48DC-AFAE-5B0BFBB50D61}" dt="2023-08-07T19:56:41.541" v="0"/>
          <ac:picMkLst>
            <pc:docMk/>
            <pc:sldMk cId="3731937585" sldId="324"/>
            <ac:picMk id="15362" creationId="{14612A80-71FD-4C06-82DC-1BCBF90ABA84}"/>
          </ac:picMkLst>
        </pc:picChg>
      </pc:sldChg>
      <pc:sldChg chg="modSp del modNotes">
        <pc:chgData name="Wise, Dana" userId="70e63ec6-51c5-46c7-b387-d3a85e40febb" providerId="ADAL" clId="{5F6AF4D4-9E70-48DC-AFAE-5B0BFBB50D61}" dt="2023-08-07T19:57:14.538" v="2" actId="47"/>
        <pc:sldMkLst>
          <pc:docMk/>
          <pc:sldMk cId="1805971183" sldId="411"/>
        </pc:sldMkLst>
        <pc:spChg chg="mod">
          <ac:chgData name="Wise, Dana" userId="70e63ec6-51c5-46c7-b387-d3a85e40febb" providerId="ADAL" clId="{5F6AF4D4-9E70-48DC-AFAE-5B0BFBB50D61}" dt="2023-08-07T19:56:41.541" v="0"/>
          <ac:spMkLst>
            <pc:docMk/>
            <pc:sldMk cId="1805971183" sldId="411"/>
            <ac:spMk id="2" creationId="{5D405A88-0E7A-4E6C-B83D-0F6EF46BC899}"/>
          </ac:spMkLst>
        </pc:spChg>
        <pc:spChg chg="mod">
          <ac:chgData name="Wise, Dana" userId="70e63ec6-51c5-46c7-b387-d3a85e40febb" providerId="ADAL" clId="{5F6AF4D4-9E70-48DC-AFAE-5B0BFBB50D61}" dt="2023-08-07T19:56:41.541" v="0"/>
          <ac:spMkLst>
            <pc:docMk/>
            <pc:sldMk cId="1805971183" sldId="411"/>
            <ac:spMk id="3" creationId="{7BC69D00-996D-4426-B2C7-29ED9D352AA9}"/>
          </ac:spMkLst>
        </pc:spChg>
        <pc:graphicFrameChg chg="mod">
          <ac:chgData name="Wise, Dana" userId="70e63ec6-51c5-46c7-b387-d3a85e40febb" providerId="ADAL" clId="{5F6AF4D4-9E70-48DC-AFAE-5B0BFBB50D61}" dt="2023-08-07T19:56:41.541" v="0"/>
          <ac:graphicFrameMkLst>
            <pc:docMk/>
            <pc:sldMk cId="1805971183" sldId="411"/>
            <ac:graphicFrameMk id="7" creationId="{DE674F33-78F0-41B8-B673-3E97037140B9}"/>
          </ac:graphicFrameMkLst>
        </pc:graphicFrameChg>
        <pc:graphicFrameChg chg="mod">
          <ac:chgData name="Wise, Dana" userId="70e63ec6-51c5-46c7-b387-d3a85e40febb" providerId="ADAL" clId="{5F6AF4D4-9E70-48DC-AFAE-5B0BFBB50D61}" dt="2023-08-07T19:56:41.541" v="0"/>
          <ac:graphicFrameMkLst>
            <pc:docMk/>
            <pc:sldMk cId="1805971183" sldId="411"/>
            <ac:graphicFrameMk id="20" creationId="{CC183F24-3FE3-4821-872D-E673832EA635}"/>
          </ac:graphicFrameMkLst>
        </pc:graphicFrameChg>
        <pc:graphicFrameChg chg="mod">
          <ac:chgData name="Wise, Dana" userId="70e63ec6-51c5-46c7-b387-d3a85e40febb" providerId="ADAL" clId="{5F6AF4D4-9E70-48DC-AFAE-5B0BFBB50D61}" dt="2023-08-07T19:56:41.541" v="0"/>
          <ac:graphicFrameMkLst>
            <pc:docMk/>
            <pc:sldMk cId="1805971183" sldId="411"/>
            <ac:graphicFrameMk id="22" creationId="{88E202DE-AC1C-44F8-BCF8-DA5C6CAED2B3}"/>
          </ac:graphicFrameMkLst>
        </pc:graphicFrameChg>
        <pc:picChg chg="mod">
          <ac:chgData name="Wise, Dana" userId="70e63ec6-51c5-46c7-b387-d3a85e40febb" providerId="ADAL" clId="{5F6AF4D4-9E70-48DC-AFAE-5B0BFBB50D61}" dt="2023-08-07T19:56:41.541" v="0"/>
          <ac:picMkLst>
            <pc:docMk/>
            <pc:sldMk cId="1805971183" sldId="411"/>
            <ac:picMk id="10" creationId="{DA51387C-C3B8-49CA-8D69-728A3F311878}"/>
          </ac:picMkLst>
        </pc:picChg>
        <pc:picChg chg="mod">
          <ac:chgData name="Wise, Dana" userId="70e63ec6-51c5-46c7-b387-d3a85e40febb" providerId="ADAL" clId="{5F6AF4D4-9E70-48DC-AFAE-5B0BFBB50D61}" dt="2023-08-07T19:56:41.541" v="0"/>
          <ac:picMkLst>
            <pc:docMk/>
            <pc:sldMk cId="1805971183" sldId="411"/>
            <ac:picMk id="12" creationId="{EE769E07-F60D-45AE-B60B-80E982D2057B}"/>
          </ac:picMkLst>
        </pc:picChg>
        <pc:picChg chg="mod">
          <ac:chgData name="Wise, Dana" userId="70e63ec6-51c5-46c7-b387-d3a85e40febb" providerId="ADAL" clId="{5F6AF4D4-9E70-48DC-AFAE-5B0BFBB50D61}" dt="2023-08-07T19:56:41.541" v="0"/>
          <ac:picMkLst>
            <pc:docMk/>
            <pc:sldMk cId="1805971183" sldId="411"/>
            <ac:picMk id="61442" creationId="{DA8F3418-3C3C-4D8C-9C4A-ADBBC7069F9E}"/>
          </ac:picMkLst>
        </pc:picChg>
        <pc:picChg chg="mod">
          <ac:chgData name="Wise, Dana" userId="70e63ec6-51c5-46c7-b387-d3a85e40febb" providerId="ADAL" clId="{5F6AF4D4-9E70-48DC-AFAE-5B0BFBB50D61}" dt="2023-08-07T19:56:41.541" v="0"/>
          <ac:picMkLst>
            <pc:docMk/>
            <pc:sldMk cId="1805971183" sldId="411"/>
            <ac:picMk id="61444" creationId="{0C66A321-C2F7-4BB1-8434-550553581205}"/>
          </ac:picMkLst>
        </pc:picChg>
        <pc:picChg chg="mod">
          <ac:chgData name="Wise, Dana" userId="70e63ec6-51c5-46c7-b387-d3a85e40febb" providerId="ADAL" clId="{5F6AF4D4-9E70-48DC-AFAE-5B0BFBB50D61}" dt="2023-08-07T19:56:41.541" v="0"/>
          <ac:picMkLst>
            <pc:docMk/>
            <pc:sldMk cId="1805971183" sldId="411"/>
            <ac:picMk id="61446" creationId="{41665F9F-E4A8-4B4D-B7E7-2B594C7E0BA4}"/>
          </ac:picMkLst>
        </pc:picChg>
        <pc:picChg chg="mod">
          <ac:chgData name="Wise, Dana" userId="70e63ec6-51c5-46c7-b387-d3a85e40febb" providerId="ADAL" clId="{5F6AF4D4-9E70-48DC-AFAE-5B0BFBB50D61}" dt="2023-08-07T19:56:41.541" v="0"/>
          <ac:picMkLst>
            <pc:docMk/>
            <pc:sldMk cId="1805971183" sldId="411"/>
            <ac:picMk id="61448" creationId="{A8C8C897-9A88-4563-B34E-9DC2FB271EFE}"/>
          </ac:picMkLst>
        </pc:picChg>
      </pc:sldChg>
      <pc:sldChg chg="modSp del modNotes">
        <pc:chgData name="Wise, Dana" userId="70e63ec6-51c5-46c7-b387-d3a85e40febb" providerId="ADAL" clId="{5F6AF4D4-9E70-48DC-AFAE-5B0BFBB50D61}" dt="2023-08-07T19:57:14.538" v="2" actId="47"/>
        <pc:sldMkLst>
          <pc:docMk/>
          <pc:sldMk cId="1266916231" sldId="412"/>
        </pc:sldMkLst>
        <pc:spChg chg="mod">
          <ac:chgData name="Wise, Dana" userId="70e63ec6-51c5-46c7-b387-d3a85e40febb" providerId="ADAL" clId="{5F6AF4D4-9E70-48DC-AFAE-5B0BFBB50D61}" dt="2023-08-07T19:56:41.541" v="0"/>
          <ac:spMkLst>
            <pc:docMk/>
            <pc:sldMk cId="1266916231" sldId="412"/>
            <ac:spMk id="3" creationId="{7BC69D00-996D-4426-B2C7-29ED9D352AA9}"/>
          </ac:spMkLst>
        </pc:spChg>
        <pc:graphicFrameChg chg="mod">
          <ac:chgData name="Wise, Dana" userId="70e63ec6-51c5-46c7-b387-d3a85e40febb" providerId="ADAL" clId="{5F6AF4D4-9E70-48DC-AFAE-5B0BFBB50D61}" dt="2023-08-07T19:56:41.541" v="0"/>
          <ac:graphicFrameMkLst>
            <pc:docMk/>
            <pc:sldMk cId="1266916231" sldId="412"/>
            <ac:graphicFrameMk id="7" creationId="{DE674F33-78F0-41B8-B673-3E97037140B9}"/>
          </ac:graphicFrameMkLst>
        </pc:graphicFrameChg>
        <pc:graphicFrameChg chg="mod">
          <ac:chgData name="Wise, Dana" userId="70e63ec6-51c5-46c7-b387-d3a85e40febb" providerId="ADAL" clId="{5F6AF4D4-9E70-48DC-AFAE-5B0BFBB50D61}" dt="2023-08-07T19:56:41.541" v="0"/>
          <ac:graphicFrameMkLst>
            <pc:docMk/>
            <pc:sldMk cId="1266916231" sldId="412"/>
            <ac:graphicFrameMk id="20" creationId="{CC183F24-3FE3-4821-872D-E673832EA635}"/>
          </ac:graphicFrameMkLst>
        </pc:graphicFrameChg>
        <pc:graphicFrameChg chg="mod">
          <ac:chgData name="Wise, Dana" userId="70e63ec6-51c5-46c7-b387-d3a85e40febb" providerId="ADAL" clId="{5F6AF4D4-9E70-48DC-AFAE-5B0BFBB50D61}" dt="2023-08-07T19:56:41.541" v="0"/>
          <ac:graphicFrameMkLst>
            <pc:docMk/>
            <pc:sldMk cId="1266916231" sldId="412"/>
            <ac:graphicFrameMk id="22" creationId="{88E202DE-AC1C-44F8-BCF8-DA5C6CAED2B3}"/>
          </ac:graphicFrameMkLst>
        </pc:graphicFrameChg>
        <pc:picChg chg="mod">
          <ac:chgData name="Wise, Dana" userId="70e63ec6-51c5-46c7-b387-d3a85e40febb" providerId="ADAL" clId="{5F6AF4D4-9E70-48DC-AFAE-5B0BFBB50D61}" dt="2023-08-07T19:56:41.541" v="0"/>
          <ac:picMkLst>
            <pc:docMk/>
            <pc:sldMk cId="1266916231" sldId="412"/>
            <ac:picMk id="10" creationId="{25B717E8-CF07-424D-86B2-6BE10E0B6E30}"/>
          </ac:picMkLst>
        </pc:picChg>
        <pc:picChg chg="mod">
          <ac:chgData name="Wise, Dana" userId="70e63ec6-51c5-46c7-b387-d3a85e40febb" providerId="ADAL" clId="{5F6AF4D4-9E70-48DC-AFAE-5B0BFBB50D61}" dt="2023-08-07T19:56:41.541" v="0"/>
          <ac:picMkLst>
            <pc:docMk/>
            <pc:sldMk cId="1266916231" sldId="412"/>
            <ac:picMk id="12" creationId="{EE769E07-F60D-45AE-B60B-80E982D2057B}"/>
          </ac:picMkLst>
        </pc:picChg>
        <pc:picChg chg="mod">
          <ac:chgData name="Wise, Dana" userId="70e63ec6-51c5-46c7-b387-d3a85e40febb" providerId="ADAL" clId="{5F6AF4D4-9E70-48DC-AFAE-5B0BFBB50D61}" dt="2023-08-07T19:56:41.541" v="0"/>
          <ac:picMkLst>
            <pc:docMk/>
            <pc:sldMk cId="1266916231" sldId="412"/>
            <ac:picMk id="5122" creationId="{CDA62808-13C7-4B1C-9AF6-BDD73CE3D298}"/>
          </ac:picMkLst>
        </pc:picChg>
        <pc:picChg chg="mod">
          <ac:chgData name="Wise, Dana" userId="70e63ec6-51c5-46c7-b387-d3a85e40febb" providerId="ADAL" clId="{5F6AF4D4-9E70-48DC-AFAE-5B0BFBB50D61}" dt="2023-08-07T19:56:41.541" v="0"/>
          <ac:picMkLst>
            <pc:docMk/>
            <pc:sldMk cId="1266916231" sldId="412"/>
            <ac:picMk id="5124" creationId="{C2CBC050-B2DE-4557-B67D-88D936AD72D5}"/>
          </ac:picMkLst>
        </pc:picChg>
        <pc:picChg chg="mod">
          <ac:chgData name="Wise, Dana" userId="70e63ec6-51c5-46c7-b387-d3a85e40febb" providerId="ADAL" clId="{5F6AF4D4-9E70-48DC-AFAE-5B0BFBB50D61}" dt="2023-08-07T19:56:41.541" v="0"/>
          <ac:picMkLst>
            <pc:docMk/>
            <pc:sldMk cId="1266916231" sldId="412"/>
            <ac:picMk id="5126" creationId="{A4B543D3-3843-4DBC-AD3E-A421AAE04A8E}"/>
          </ac:picMkLst>
        </pc:picChg>
        <pc:picChg chg="mod">
          <ac:chgData name="Wise, Dana" userId="70e63ec6-51c5-46c7-b387-d3a85e40febb" providerId="ADAL" clId="{5F6AF4D4-9E70-48DC-AFAE-5B0BFBB50D61}" dt="2023-08-07T19:56:41.541" v="0"/>
          <ac:picMkLst>
            <pc:docMk/>
            <pc:sldMk cId="1266916231" sldId="412"/>
            <ac:picMk id="5128" creationId="{EE567EB5-08BD-402D-BD34-B1627E22E0FF}"/>
          </ac:picMkLst>
        </pc:picChg>
      </pc:sldChg>
      <pc:sldChg chg="modSp del modNotes">
        <pc:chgData name="Wise, Dana" userId="70e63ec6-51c5-46c7-b387-d3a85e40febb" providerId="ADAL" clId="{5F6AF4D4-9E70-48DC-AFAE-5B0BFBB50D61}" dt="2023-08-07T19:57:51.449" v="8" actId="47"/>
        <pc:sldMkLst>
          <pc:docMk/>
          <pc:sldMk cId="1773251998" sldId="414"/>
        </pc:sldMkLst>
        <pc:spChg chg="mod">
          <ac:chgData name="Wise, Dana" userId="70e63ec6-51c5-46c7-b387-d3a85e40febb" providerId="ADAL" clId="{5F6AF4D4-9E70-48DC-AFAE-5B0BFBB50D61}" dt="2023-08-07T19:56:41.541" v="0"/>
          <ac:spMkLst>
            <pc:docMk/>
            <pc:sldMk cId="1773251998" sldId="414"/>
            <ac:spMk id="3" creationId="{7BC69D00-996D-4426-B2C7-29ED9D352AA9}"/>
          </ac:spMkLst>
        </pc:spChg>
        <pc:graphicFrameChg chg="mod">
          <ac:chgData name="Wise, Dana" userId="70e63ec6-51c5-46c7-b387-d3a85e40febb" providerId="ADAL" clId="{5F6AF4D4-9E70-48DC-AFAE-5B0BFBB50D61}" dt="2023-08-07T19:56:41.541" v="0"/>
          <ac:graphicFrameMkLst>
            <pc:docMk/>
            <pc:sldMk cId="1773251998" sldId="414"/>
            <ac:graphicFrameMk id="7" creationId="{DE674F33-78F0-41B8-B673-3E97037140B9}"/>
          </ac:graphicFrameMkLst>
        </pc:graphicFrameChg>
        <pc:graphicFrameChg chg="mod">
          <ac:chgData name="Wise, Dana" userId="70e63ec6-51c5-46c7-b387-d3a85e40febb" providerId="ADAL" clId="{5F6AF4D4-9E70-48DC-AFAE-5B0BFBB50D61}" dt="2023-08-07T19:56:41.541" v="0"/>
          <ac:graphicFrameMkLst>
            <pc:docMk/>
            <pc:sldMk cId="1773251998" sldId="414"/>
            <ac:graphicFrameMk id="20" creationId="{CC183F24-3FE3-4821-872D-E673832EA635}"/>
          </ac:graphicFrameMkLst>
        </pc:graphicFrameChg>
        <pc:graphicFrameChg chg="mod">
          <ac:chgData name="Wise, Dana" userId="70e63ec6-51c5-46c7-b387-d3a85e40febb" providerId="ADAL" clId="{5F6AF4D4-9E70-48DC-AFAE-5B0BFBB50D61}" dt="2023-08-07T19:56:41.541" v="0"/>
          <ac:graphicFrameMkLst>
            <pc:docMk/>
            <pc:sldMk cId="1773251998" sldId="414"/>
            <ac:graphicFrameMk id="22" creationId="{88E202DE-AC1C-44F8-BCF8-DA5C6CAED2B3}"/>
          </ac:graphicFrameMkLst>
        </pc:graphicFrameChg>
        <pc:picChg chg="mod">
          <ac:chgData name="Wise, Dana" userId="70e63ec6-51c5-46c7-b387-d3a85e40febb" providerId="ADAL" clId="{5F6AF4D4-9E70-48DC-AFAE-5B0BFBB50D61}" dt="2023-08-07T19:56:41.541" v="0"/>
          <ac:picMkLst>
            <pc:docMk/>
            <pc:sldMk cId="1773251998" sldId="414"/>
            <ac:picMk id="12" creationId="{EE769E07-F60D-45AE-B60B-80E982D2057B}"/>
          </ac:picMkLst>
        </pc:picChg>
        <pc:picChg chg="mod">
          <ac:chgData name="Wise, Dana" userId="70e63ec6-51c5-46c7-b387-d3a85e40febb" providerId="ADAL" clId="{5F6AF4D4-9E70-48DC-AFAE-5B0BFBB50D61}" dt="2023-08-07T19:56:41.541" v="0"/>
          <ac:picMkLst>
            <pc:docMk/>
            <pc:sldMk cId="1773251998" sldId="414"/>
            <ac:picMk id="14" creationId="{9E1CD806-E252-400F-909E-15D6D22A1B47}"/>
          </ac:picMkLst>
        </pc:picChg>
        <pc:picChg chg="mod">
          <ac:chgData name="Wise, Dana" userId="70e63ec6-51c5-46c7-b387-d3a85e40febb" providerId="ADAL" clId="{5F6AF4D4-9E70-48DC-AFAE-5B0BFBB50D61}" dt="2023-08-07T19:56:41.541" v="0"/>
          <ac:picMkLst>
            <pc:docMk/>
            <pc:sldMk cId="1773251998" sldId="414"/>
            <ac:picMk id="3077" creationId="{629D3DD6-0F64-402C-ACCD-08A3B7D81FA2}"/>
          </ac:picMkLst>
        </pc:picChg>
      </pc:sldChg>
      <pc:sldChg chg="modSp del modNotes">
        <pc:chgData name="Wise, Dana" userId="70e63ec6-51c5-46c7-b387-d3a85e40febb" providerId="ADAL" clId="{5F6AF4D4-9E70-48DC-AFAE-5B0BFBB50D61}" dt="2023-08-07T19:58:05.238" v="10" actId="47"/>
        <pc:sldMkLst>
          <pc:docMk/>
          <pc:sldMk cId="3992694529" sldId="419"/>
        </pc:sldMkLst>
        <pc:spChg chg="mod">
          <ac:chgData name="Wise, Dana" userId="70e63ec6-51c5-46c7-b387-d3a85e40febb" providerId="ADAL" clId="{5F6AF4D4-9E70-48DC-AFAE-5B0BFBB50D61}" dt="2023-08-07T19:56:41.541" v="0"/>
          <ac:spMkLst>
            <pc:docMk/>
            <pc:sldMk cId="3992694529" sldId="419"/>
            <ac:spMk id="3" creationId="{7BC69D00-996D-4426-B2C7-29ED9D352AA9}"/>
          </ac:spMkLst>
        </pc:spChg>
        <pc:graphicFrameChg chg="mod">
          <ac:chgData name="Wise, Dana" userId="70e63ec6-51c5-46c7-b387-d3a85e40febb" providerId="ADAL" clId="{5F6AF4D4-9E70-48DC-AFAE-5B0BFBB50D61}" dt="2023-08-07T19:56:41.541" v="0"/>
          <ac:graphicFrameMkLst>
            <pc:docMk/>
            <pc:sldMk cId="3992694529" sldId="419"/>
            <ac:graphicFrameMk id="7" creationId="{DE674F33-78F0-41B8-B673-3E97037140B9}"/>
          </ac:graphicFrameMkLst>
        </pc:graphicFrameChg>
        <pc:graphicFrameChg chg="mod">
          <ac:chgData name="Wise, Dana" userId="70e63ec6-51c5-46c7-b387-d3a85e40febb" providerId="ADAL" clId="{5F6AF4D4-9E70-48DC-AFAE-5B0BFBB50D61}" dt="2023-08-07T19:56:41.541" v="0"/>
          <ac:graphicFrameMkLst>
            <pc:docMk/>
            <pc:sldMk cId="3992694529" sldId="419"/>
            <ac:graphicFrameMk id="20" creationId="{CC183F24-3FE3-4821-872D-E673832EA635}"/>
          </ac:graphicFrameMkLst>
        </pc:graphicFrameChg>
        <pc:graphicFrameChg chg="mod">
          <ac:chgData name="Wise, Dana" userId="70e63ec6-51c5-46c7-b387-d3a85e40febb" providerId="ADAL" clId="{5F6AF4D4-9E70-48DC-AFAE-5B0BFBB50D61}" dt="2023-08-07T19:56:41.541" v="0"/>
          <ac:graphicFrameMkLst>
            <pc:docMk/>
            <pc:sldMk cId="3992694529" sldId="419"/>
            <ac:graphicFrameMk id="22" creationId="{88E202DE-AC1C-44F8-BCF8-DA5C6CAED2B3}"/>
          </ac:graphicFrameMkLst>
        </pc:graphicFrameChg>
        <pc:picChg chg="mod">
          <ac:chgData name="Wise, Dana" userId="70e63ec6-51c5-46c7-b387-d3a85e40febb" providerId="ADAL" clId="{5F6AF4D4-9E70-48DC-AFAE-5B0BFBB50D61}" dt="2023-08-07T19:56:41.541" v="0"/>
          <ac:picMkLst>
            <pc:docMk/>
            <pc:sldMk cId="3992694529" sldId="419"/>
            <ac:picMk id="9" creationId="{73007320-3895-488F-B860-2AB1787325F6}"/>
          </ac:picMkLst>
        </pc:picChg>
        <pc:picChg chg="mod">
          <ac:chgData name="Wise, Dana" userId="70e63ec6-51c5-46c7-b387-d3a85e40febb" providerId="ADAL" clId="{5F6AF4D4-9E70-48DC-AFAE-5B0BFBB50D61}" dt="2023-08-07T19:56:41.541" v="0"/>
          <ac:picMkLst>
            <pc:docMk/>
            <pc:sldMk cId="3992694529" sldId="419"/>
            <ac:picMk id="12" creationId="{EE769E07-F60D-45AE-B60B-80E982D2057B}"/>
          </ac:picMkLst>
        </pc:picChg>
        <pc:picChg chg="mod">
          <ac:chgData name="Wise, Dana" userId="70e63ec6-51c5-46c7-b387-d3a85e40febb" providerId="ADAL" clId="{5F6AF4D4-9E70-48DC-AFAE-5B0BFBB50D61}" dt="2023-08-07T19:56:41.541" v="0"/>
          <ac:picMkLst>
            <pc:docMk/>
            <pc:sldMk cId="3992694529" sldId="419"/>
            <ac:picMk id="1026" creationId="{CD47A1EF-46E2-40D2-A430-1878ED94E858}"/>
          </ac:picMkLst>
        </pc:picChg>
        <pc:picChg chg="mod">
          <ac:chgData name="Wise, Dana" userId="70e63ec6-51c5-46c7-b387-d3a85e40febb" providerId="ADAL" clId="{5F6AF4D4-9E70-48DC-AFAE-5B0BFBB50D61}" dt="2023-08-07T19:56:41.541" v="0"/>
          <ac:picMkLst>
            <pc:docMk/>
            <pc:sldMk cId="3992694529" sldId="419"/>
            <ac:picMk id="1028" creationId="{F6826776-E680-4A61-84B3-491898E47A08}"/>
          </ac:picMkLst>
        </pc:picChg>
        <pc:picChg chg="mod">
          <ac:chgData name="Wise, Dana" userId="70e63ec6-51c5-46c7-b387-d3a85e40febb" providerId="ADAL" clId="{5F6AF4D4-9E70-48DC-AFAE-5B0BFBB50D61}" dt="2023-08-07T19:56:41.541" v="0"/>
          <ac:picMkLst>
            <pc:docMk/>
            <pc:sldMk cId="3992694529" sldId="419"/>
            <ac:picMk id="1030" creationId="{3009883C-F88B-4886-9A95-DDDC473C096C}"/>
          </ac:picMkLst>
        </pc:picChg>
        <pc:picChg chg="mod">
          <ac:chgData name="Wise, Dana" userId="70e63ec6-51c5-46c7-b387-d3a85e40febb" providerId="ADAL" clId="{5F6AF4D4-9E70-48DC-AFAE-5B0BFBB50D61}" dt="2023-08-07T19:56:41.541" v="0"/>
          <ac:picMkLst>
            <pc:docMk/>
            <pc:sldMk cId="3992694529" sldId="419"/>
            <ac:picMk id="1032" creationId="{CE27BD68-FDDD-48B7-B6F7-9CFC1153C95B}"/>
          </ac:picMkLst>
        </pc:picChg>
      </pc:sldChg>
      <pc:sldChg chg="modSp del">
        <pc:chgData name="Wise, Dana" userId="70e63ec6-51c5-46c7-b387-d3a85e40febb" providerId="ADAL" clId="{5F6AF4D4-9E70-48DC-AFAE-5B0BFBB50D61}" dt="2023-08-07T19:58:17.731" v="12" actId="47"/>
        <pc:sldMkLst>
          <pc:docMk/>
          <pc:sldMk cId="858277693" sldId="421"/>
        </pc:sldMkLst>
        <pc:spChg chg="mod">
          <ac:chgData name="Wise, Dana" userId="70e63ec6-51c5-46c7-b387-d3a85e40febb" providerId="ADAL" clId="{5F6AF4D4-9E70-48DC-AFAE-5B0BFBB50D61}" dt="2023-08-07T19:56:41.541" v="0"/>
          <ac:spMkLst>
            <pc:docMk/>
            <pc:sldMk cId="858277693" sldId="421"/>
            <ac:spMk id="13" creationId="{5C075260-3B7C-4F05-9DF6-2AA0601F060F}"/>
          </ac:spMkLst>
        </pc:spChg>
        <pc:spChg chg="mod">
          <ac:chgData name="Wise, Dana" userId="70e63ec6-51c5-46c7-b387-d3a85e40febb" providerId="ADAL" clId="{5F6AF4D4-9E70-48DC-AFAE-5B0BFBB50D61}" dt="2023-08-07T19:56:41.541" v="0"/>
          <ac:spMkLst>
            <pc:docMk/>
            <pc:sldMk cId="858277693" sldId="421"/>
            <ac:spMk id="16" creationId="{19630AE8-9ED8-45D3-8539-FE0A577EBA09}"/>
          </ac:spMkLst>
        </pc:spChg>
        <pc:spChg chg="mod">
          <ac:chgData name="Wise, Dana" userId="70e63ec6-51c5-46c7-b387-d3a85e40febb" providerId="ADAL" clId="{5F6AF4D4-9E70-48DC-AFAE-5B0BFBB50D61}" dt="2023-08-07T19:56:41.541" v="0"/>
          <ac:spMkLst>
            <pc:docMk/>
            <pc:sldMk cId="858277693" sldId="421"/>
            <ac:spMk id="17" creationId="{1AEF4AF9-00CA-41A6-8069-238F84D34552}"/>
          </ac:spMkLst>
        </pc:spChg>
        <pc:spChg chg="mod">
          <ac:chgData name="Wise, Dana" userId="70e63ec6-51c5-46c7-b387-d3a85e40febb" providerId="ADAL" clId="{5F6AF4D4-9E70-48DC-AFAE-5B0BFBB50D61}" dt="2023-08-07T19:56:41.541" v="0"/>
          <ac:spMkLst>
            <pc:docMk/>
            <pc:sldMk cId="858277693" sldId="421"/>
            <ac:spMk id="19" creationId="{DC51BF30-CAE9-4DD4-86BA-CF21842E8381}"/>
          </ac:spMkLst>
        </pc:spChg>
        <pc:spChg chg="mod">
          <ac:chgData name="Wise, Dana" userId="70e63ec6-51c5-46c7-b387-d3a85e40febb" providerId="ADAL" clId="{5F6AF4D4-9E70-48DC-AFAE-5B0BFBB50D61}" dt="2023-08-07T19:56:41.541" v="0"/>
          <ac:spMkLst>
            <pc:docMk/>
            <pc:sldMk cId="858277693" sldId="421"/>
            <ac:spMk id="21" creationId="{DC4EC4A1-F2A8-46C0-9DB8-9044030FEF77}"/>
          </ac:spMkLst>
        </pc:spChg>
        <pc:spChg chg="mod">
          <ac:chgData name="Wise, Dana" userId="70e63ec6-51c5-46c7-b387-d3a85e40febb" providerId="ADAL" clId="{5F6AF4D4-9E70-48DC-AFAE-5B0BFBB50D61}" dt="2023-08-07T19:56:41.541" v="0"/>
          <ac:spMkLst>
            <pc:docMk/>
            <pc:sldMk cId="858277693" sldId="421"/>
            <ac:spMk id="23" creationId="{A2C8422C-5DA2-4313-8ED6-BB05A3CDC60B}"/>
          </ac:spMkLst>
        </pc:spChg>
        <pc:spChg chg="mod">
          <ac:chgData name="Wise, Dana" userId="70e63ec6-51c5-46c7-b387-d3a85e40febb" providerId="ADAL" clId="{5F6AF4D4-9E70-48DC-AFAE-5B0BFBB50D61}" dt="2023-08-07T19:56:41.541" v="0"/>
          <ac:spMkLst>
            <pc:docMk/>
            <pc:sldMk cId="858277693" sldId="421"/>
            <ac:spMk id="24" creationId="{AE80B8DC-2426-4130-BDE7-BAEAA4D93AD3}"/>
          </ac:spMkLst>
        </pc:spChg>
        <pc:spChg chg="mod">
          <ac:chgData name="Wise, Dana" userId="70e63ec6-51c5-46c7-b387-d3a85e40febb" providerId="ADAL" clId="{5F6AF4D4-9E70-48DC-AFAE-5B0BFBB50D61}" dt="2023-08-07T19:56:41.541" v="0"/>
          <ac:spMkLst>
            <pc:docMk/>
            <pc:sldMk cId="858277693" sldId="421"/>
            <ac:spMk id="25" creationId="{1E320232-D3DF-49AE-B5B2-FB1745ADD3B1}"/>
          </ac:spMkLst>
        </pc:spChg>
        <pc:graphicFrameChg chg="mod">
          <ac:chgData name="Wise, Dana" userId="70e63ec6-51c5-46c7-b387-d3a85e40febb" providerId="ADAL" clId="{5F6AF4D4-9E70-48DC-AFAE-5B0BFBB50D61}" dt="2023-08-07T19:56:41.541" v="0"/>
          <ac:graphicFrameMkLst>
            <pc:docMk/>
            <pc:sldMk cId="858277693" sldId="421"/>
            <ac:graphicFrameMk id="14" creationId="{DE55D00E-179B-4636-A5E5-962BF90E7E57}"/>
          </ac:graphicFrameMkLst>
        </pc:graphicFrameChg>
        <pc:graphicFrameChg chg="mod">
          <ac:chgData name="Wise, Dana" userId="70e63ec6-51c5-46c7-b387-d3a85e40febb" providerId="ADAL" clId="{5F6AF4D4-9E70-48DC-AFAE-5B0BFBB50D61}" dt="2023-08-07T19:56:41.541" v="0"/>
          <ac:graphicFrameMkLst>
            <pc:docMk/>
            <pc:sldMk cId="858277693" sldId="421"/>
            <ac:graphicFrameMk id="27" creationId="{518B5387-EEA9-49CC-8804-1ECD6BE7A834}"/>
          </ac:graphicFrameMkLst>
        </pc:graphicFrameChg>
        <pc:picChg chg="mod">
          <ac:chgData name="Wise, Dana" userId="70e63ec6-51c5-46c7-b387-d3a85e40febb" providerId="ADAL" clId="{5F6AF4D4-9E70-48DC-AFAE-5B0BFBB50D61}" dt="2023-08-07T19:56:41.541" v="0"/>
          <ac:picMkLst>
            <pc:docMk/>
            <pc:sldMk cId="858277693" sldId="421"/>
            <ac:picMk id="12" creationId="{639D9DAD-04C5-4794-BC95-39C72A1F9549}"/>
          </ac:picMkLst>
        </pc:picChg>
        <pc:picChg chg="mod">
          <ac:chgData name="Wise, Dana" userId="70e63ec6-51c5-46c7-b387-d3a85e40febb" providerId="ADAL" clId="{5F6AF4D4-9E70-48DC-AFAE-5B0BFBB50D61}" dt="2023-08-07T19:56:41.541" v="0"/>
          <ac:picMkLst>
            <pc:docMk/>
            <pc:sldMk cId="858277693" sldId="421"/>
            <ac:picMk id="15" creationId="{62078926-AB07-4DD8-8C06-CC3E6EE11AA4}"/>
          </ac:picMkLst>
        </pc:picChg>
      </pc:sldChg>
      <pc:sldChg chg="modSp del">
        <pc:chgData name="Wise, Dana" userId="70e63ec6-51c5-46c7-b387-d3a85e40febb" providerId="ADAL" clId="{5F6AF4D4-9E70-48DC-AFAE-5B0BFBB50D61}" dt="2023-08-07T19:58:17.731" v="12" actId="47"/>
        <pc:sldMkLst>
          <pc:docMk/>
          <pc:sldMk cId="494587167" sldId="2147472219"/>
        </pc:sldMkLst>
        <pc:spChg chg="mod">
          <ac:chgData name="Wise, Dana" userId="70e63ec6-51c5-46c7-b387-d3a85e40febb" providerId="ADAL" clId="{5F6AF4D4-9E70-48DC-AFAE-5B0BFBB50D61}" dt="2023-08-07T19:56:41.541" v="0"/>
          <ac:spMkLst>
            <pc:docMk/>
            <pc:sldMk cId="494587167" sldId="2147472219"/>
            <ac:spMk id="10" creationId="{BF9C59EE-C050-4787-8F43-8BB0DD7E1CEB}"/>
          </ac:spMkLst>
        </pc:spChg>
        <pc:spChg chg="mod">
          <ac:chgData name="Wise, Dana" userId="70e63ec6-51c5-46c7-b387-d3a85e40febb" providerId="ADAL" clId="{5F6AF4D4-9E70-48DC-AFAE-5B0BFBB50D61}" dt="2023-08-07T19:56:41.541" v="0"/>
          <ac:spMkLst>
            <pc:docMk/>
            <pc:sldMk cId="494587167" sldId="2147472219"/>
            <ac:spMk id="21" creationId="{B847C985-FF25-4C17-AD6A-3E3E84F7CA7D}"/>
          </ac:spMkLst>
        </pc:spChg>
        <pc:graphicFrameChg chg="mod">
          <ac:chgData name="Wise, Dana" userId="70e63ec6-51c5-46c7-b387-d3a85e40febb" providerId="ADAL" clId="{5F6AF4D4-9E70-48DC-AFAE-5B0BFBB50D61}" dt="2023-08-07T19:56:41.541" v="0"/>
          <ac:graphicFrameMkLst>
            <pc:docMk/>
            <pc:sldMk cId="494587167" sldId="2147472219"/>
            <ac:graphicFrameMk id="4" creationId="{59D3794F-9FB5-4F43-B47D-89054F9E84AA}"/>
          </ac:graphicFrameMkLst>
        </pc:graphicFrameChg>
        <pc:graphicFrameChg chg="mod">
          <ac:chgData name="Wise, Dana" userId="70e63ec6-51c5-46c7-b387-d3a85e40febb" providerId="ADAL" clId="{5F6AF4D4-9E70-48DC-AFAE-5B0BFBB50D61}" dt="2023-08-07T19:56:41.541" v="0"/>
          <ac:graphicFrameMkLst>
            <pc:docMk/>
            <pc:sldMk cId="494587167" sldId="2147472219"/>
            <ac:graphicFrameMk id="23" creationId="{4449AB1C-917E-40CF-95F4-4CD122B92A33}"/>
          </ac:graphicFrameMkLst>
        </pc:graphicFrameChg>
        <pc:graphicFrameChg chg="mod">
          <ac:chgData name="Wise, Dana" userId="70e63ec6-51c5-46c7-b387-d3a85e40febb" providerId="ADAL" clId="{5F6AF4D4-9E70-48DC-AFAE-5B0BFBB50D61}" dt="2023-08-07T19:56:41.541" v="0"/>
          <ac:graphicFrameMkLst>
            <pc:docMk/>
            <pc:sldMk cId="494587167" sldId="2147472219"/>
            <ac:graphicFrameMk id="24" creationId="{A9E4AFFA-6A2F-441F-8326-6640BF498288}"/>
          </ac:graphicFrameMkLst>
        </pc:graphicFrameChg>
        <pc:graphicFrameChg chg="mod">
          <ac:chgData name="Wise, Dana" userId="70e63ec6-51c5-46c7-b387-d3a85e40febb" providerId="ADAL" clId="{5F6AF4D4-9E70-48DC-AFAE-5B0BFBB50D61}" dt="2023-08-07T19:56:41.541" v="0"/>
          <ac:graphicFrameMkLst>
            <pc:docMk/>
            <pc:sldMk cId="494587167" sldId="2147472219"/>
            <ac:graphicFrameMk id="25" creationId="{4D4E55AE-A9AC-4474-887D-0F3B0F309DFF}"/>
          </ac:graphicFrameMkLst>
        </pc:graphicFrameChg>
        <pc:graphicFrameChg chg="mod">
          <ac:chgData name="Wise, Dana" userId="70e63ec6-51c5-46c7-b387-d3a85e40febb" providerId="ADAL" clId="{5F6AF4D4-9E70-48DC-AFAE-5B0BFBB50D61}" dt="2023-08-07T19:56:41.541" v="0"/>
          <ac:graphicFrameMkLst>
            <pc:docMk/>
            <pc:sldMk cId="494587167" sldId="2147472219"/>
            <ac:graphicFrameMk id="26" creationId="{7C955C20-3906-48EE-936A-58DFB3E2E8B5}"/>
          </ac:graphicFrameMkLst>
        </pc:graphicFrameChg>
        <pc:graphicFrameChg chg="mod">
          <ac:chgData name="Wise, Dana" userId="70e63ec6-51c5-46c7-b387-d3a85e40febb" providerId="ADAL" clId="{5F6AF4D4-9E70-48DC-AFAE-5B0BFBB50D61}" dt="2023-08-07T19:56:41.541" v="0"/>
          <ac:graphicFrameMkLst>
            <pc:docMk/>
            <pc:sldMk cId="494587167" sldId="2147472219"/>
            <ac:graphicFrameMk id="27" creationId="{FF2EA5BA-2987-4124-B525-B955CDFDA894}"/>
          </ac:graphicFrameMkLst>
        </pc:graphicFrameChg>
        <pc:picChg chg="mod">
          <ac:chgData name="Wise, Dana" userId="70e63ec6-51c5-46c7-b387-d3a85e40febb" providerId="ADAL" clId="{5F6AF4D4-9E70-48DC-AFAE-5B0BFBB50D61}" dt="2023-08-07T19:56:41.541" v="0"/>
          <ac:picMkLst>
            <pc:docMk/>
            <pc:sldMk cId="494587167" sldId="2147472219"/>
            <ac:picMk id="12" creationId="{8AB99267-8C4D-4664-AB29-873748C212A2}"/>
          </ac:picMkLst>
        </pc:picChg>
      </pc:sldChg>
      <pc:sldChg chg="modSp add del">
        <pc:chgData name="Wise, Dana" userId="70e63ec6-51c5-46c7-b387-d3a85e40febb" providerId="ADAL" clId="{5F6AF4D4-9E70-48DC-AFAE-5B0BFBB50D61}" dt="2023-08-07T19:57:45.309" v="6"/>
        <pc:sldMkLst>
          <pc:docMk/>
          <pc:sldMk cId="519881373" sldId="2147472220"/>
        </pc:sldMkLst>
        <pc:spChg chg="mod">
          <ac:chgData name="Wise, Dana" userId="70e63ec6-51c5-46c7-b387-d3a85e40febb" providerId="ADAL" clId="{5F6AF4D4-9E70-48DC-AFAE-5B0BFBB50D61}" dt="2023-08-07T19:56:41.541" v="0"/>
          <ac:spMkLst>
            <pc:docMk/>
            <pc:sldMk cId="519881373" sldId="2147472220"/>
            <ac:spMk id="3" creationId="{244AD18C-098D-4DB6-A80A-A57A1F657EB9}"/>
          </ac:spMkLst>
        </pc:spChg>
        <pc:graphicFrameChg chg="mod">
          <ac:chgData name="Wise, Dana" userId="70e63ec6-51c5-46c7-b387-d3a85e40febb" providerId="ADAL" clId="{5F6AF4D4-9E70-48DC-AFAE-5B0BFBB50D61}" dt="2023-08-07T19:56:41.541" v="0"/>
          <ac:graphicFrameMkLst>
            <pc:docMk/>
            <pc:sldMk cId="519881373" sldId="2147472220"/>
            <ac:graphicFrameMk id="4" creationId="{04CBF5CC-4415-44EF-BA29-C02969A70328}"/>
          </ac:graphicFrameMkLst>
        </pc:graphicFrameChg>
        <pc:picChg chg="mod">
          <ac:chgData name="Wise, Dana" userId="70e63ec6-51c5-46c7-b387-d3a85e40febb" providerId="ADAL" clId="{5F6AF4D4-9E70-48DC-AFAE-5B0BFBB50D61}" dt="2023-08-07T19:56:41.541" v="0"/>
          <ac:picMkLst>
            <pc:docMk/>
            <pc:sldMk cId="519881373" sldId="2147472220"/>
            <ac:picMk id="5" creationId="{40A3874E-C74C-491E-B7B8-A06AE83A90A2}"/>
          </ac:picMkLst>
        </pc:picChg>
        <pc:picChg chg="mod">
          <ac:chgData name="Wise, Dana" userId="70e63ec6-51c5-46c7-b387-d3a85e40febb" providerId="ADAL" clId="{5F6AF4D4-9E70-48DC-AFAE-5B0BFBB50D61}" dt="2023-08-07T19:56:41.541" v="0"/>
          <ac:picMkLst>
            <pc:docMk/>
            <pc:sldMk cId="519881373" sldId="2147472220"/>
            <ac:picMk id="6" creationId="{E2946D3E-E647-417B-966A-EF0E425F9138}"/>
          </ac:picMkLst>
        </pc:picChg>
        <pc:picChg chg="mod">
          <ac:chgData name="Wise, Dana" userId="70e63ec6-51c5-46c7-b387-d3a85e40febb" providerId="ADAL" clId="{5F6AF4D4-9E70-48DC-AFAE-5B0BFBB50D61}" dt="2023-08-07T19:56:41.541" v="0"/>
          <ac:picMkLst>
            <pc:docMk/>
            <pc:sldMk cId="519881373" sldId="2147472220"/>
            <ac:picMk id="9" creationId="{F487863A-6E59-48ED-B93B-477BE8A4880B}"/>
          </ac:picMkLst>
        </pc:picChg>
      </pc:sldChg>
      <pc:sldChg chg="modSp del modNotes">
        <pc:chgData name="Wise, Dana" userId="70e63ec6-51c5-46c7-b387-d3a85e40febb" providerId="ADAL" clId="{5F6AF4D4-9E70-48DC-AFAE-5B0BFBB50D61}" dt="2023-08-07T19:57:30.825" v="4" actId="47"/>
        <pc:sldMkLst>
          <pc:docMk/>
          <pc:sldMk cId="1188060110" sldId="2147472224"/>
        </pc:sldMkLst>
        <pc:spChg chg="mod">
          <ac:chgData name="Wise, Dana" userId="70e63ec6-51c5-46c7-b387-d3a85e40febb" providerId="ADAL" clId="{5F6AF4D4-9E70-48DC-AFAE-5B0BFBB50D61}" dt="2023-08-07T19:56:41.541" v="0"/>
          <ac:spMkLst>
            <pc:docMk/>
            <pc:sldMk cId="1188060110" sldId="2147472224"/>
            <ac:spMk id="20" creationId="{B3A8CC26-360D-471C-9F48-476300F2056C}"/>
          </ac:spMkLst>
        </pc:spChg>
        <pc:spChg chg="mod">
          <ac:chgData name="Wise, Dana" userId="70e63ec6-51c5-46c7-b387-d3a85e40febb" providerId="ADAL" clId="{5F6AF4D4-9E70-48DC-AFAE-5B0BFBB50D61}" dt="2023-08-07T19:56:41.541" v="0"/>
          <ac:spMkLst>
            <pc:docMk/>
            <pc:sldMk cId="1188060110" sldId="2147472224"/>
            <ac:spMk id="21" creationId="{DC4EC4A1-F2A8-46C0-9DB8-9044030FEF77}"/>
          </ac:spMkLst>
        </pc:spChg>
        <pc:graphicFrameChg chg="mod">
          <ac:chgData name="Wise, Dana" userId="70e63ec6-51c5-46c7-b387-d3a85e40febb" providerId="ADAL" clId="{5F6AF4D4-9E70-48DC-AFAE-5B0BFBB50D61}" dt="2023-08-07T19:56:41.541" v="0"/>
          <ac:graphicFrameMkLst>
            <pc:docMk/>
            <pc:sldMk cId="1188060110" sldId="2147472224"/>
            <ac:graphicFrameMk id="22" creationId="{96CCAA6D-C3BA-4365-9F2A-7AEF9AE71605}"/>
          </ac:graphicFrameMkLst>
        </pc:graphicFrameChg>
        <pc:graphicFrameChg chg="mod">
          <ac:chgData name="Wise, Dana" userId="70e63ec6-51c5-46c7-b387-d3a85e40febb" providerId="ADAL" clId="{5F6AF4D4-9E70-48DC-AFAE-5B0BFBB50D61}" dt="2023-08-07T19:56:41.541" v="0"/>
          <ac:graphicFrameMkLst>
            <pc:docMk/>
            <pc:sldMk cId="1188060110" sldId="2147472224"/>
            <ac:graphicFrameMk id="27" creationId="{518B5387-EEA9-49CC-8804-1ECD6BE7A834}"/>
          </ac:graphicFrameMkLst>
        </pc:graphicFrameChg>
        <pc:picChg chg="mod">
          <ac:chgData name="Wise, Dana" userId="70e63ec6-51c5-46c7-b387-d3a85e40febb" providerId="ADAL" clId="{5F6AF4D4-9E70-48DC-AFAE-5B0BFBB50D61}" dt="2023-08-07T19:56:41.541" v="0"/>
          <ac:picMkLst>
            <pc:docMk/>
            <pc:sldMk cId="1188060110" sldId="2147472224"/>
            <ac:picMk id="12" creationId="{50A778AA-BDA8-4BDC-A0EC-55A14F28D8A8}"/>
          </ac:picMkLst>
        </pc:picChg>
        <pc:picChg chg="mod">
          <ac:chgData name="Wise, Dana" userId="70e63ec6-51c5-46c7-b387-d3a85e40febb" providerId="ADAL" clId="{5F6AF4D4-9E70-48DC-AFAE-5B0BFBB50D61}" dt="2023-08-07T19:56:41.541" v="0"/>
          <ac:picMkLst>
            <pc:docMk/>
            <pc:sldMk cId="1188060110" sldId="2147472224"/>
            <ac:picMk id="13" creationId="{B6A2DC6A-23D4-4B19-B134-34DF2A59E342}"/>
          </ac:picMkLst>
        </pc:picChg>
      </pc:sldChg>
      <pc:sldChg chg="modSp del">
        <pc:chgData name="Wise, Dana" userId="70e63ec6-51c5-46c7-b387-d3a85e40febb" providerId="ADAL" clId="{5F6AF4D4-9E70-48DC-AFAE-5B0BFBB50D61}" dt="2023-08-07T19:57:30.825" v="4" actId="47"/>
        <pc:sldMkLst>
          <pc:docMk/>
          <pc:sldMk cId="4215056789" sldId="2147472225"/>
        </pc:sldMkLst>
        <pc:spChg chg="mod">
          <ac:chgData name="Wise, Dana" userId="70e63ec6-51c5-46c7-b387-d3a85e40febb" providerId="ADAL" clId="{5F6AF4D4-9E70-48DC-AFAE-5B0BFBB50D61}" dt="2023-08-07T19:56:41.541" v="0"/>
          <ac:spMkLst>
            <pc:docMk/>
            <pc:sldMk cId="4215056789" sldId="2147472225"/>
            <ac:spMk id="2" creationId="{E5C7EB67-449C-4F51-B176-77923517CC1A}"/>
          </ac:spMkLst>
        </pc:spChg>
        <pc:graphicFrameChg chg="mod">
          <ac:chgData name="Wise, Dana" userId="70e63ec6-51c5-46c7-b387-d3a85e40febb" providerId="ADAL" clId="{5F6AF4D4-9E70-48DC-AFAE-5B0BFBB50D61}" dt="2023-08-07T19:56:41.541" v="0"/>
          <ac:graphicFrameMkLst>
            <pc:docMk/>
            <pc:sldMk cId="4215056789" sldId="2147472225"/>
            <ac:graphicFrameMk id="19" creationId="{2C710F62-8285-48F5-B5C7-F51A0141609B}"/>
          </ac:graphicFrameMkLst>
        </pc:graphicFrameChg>
        <pc:graphicFrameChg chg="mod">
          <ac:chgData name="Wise, Dana" userId="70e63ec6-51c5-46c7-b387-d3a85e40febb" providerId="ADAL" clId="{5F6AF4D4-9E70-48DC-AFAE-5B0BFBB50D61}" dt="2023-08-07T19:56:41.541" v="0"/>
          <ac:graphicFrameMkLst>
            <pc:docMk/>
            <pc:sldMk cId="4215056789" sldId="2147472225"/>
            <ac:graphicFrameMk id="22" creationId="{DF8EB8BF-A1A0-4663-9DE4-D197E653EF4B}"/>
          </ac:graphicFrameMkLst>
        </pc:graphicFrameChg>
        <pc:picChg chg="mod">
          <ac:chgData name="Wise, Dana" userId="70e63ec6-51c5-46c7-b387-d3a85e40febb" providerId="ADAL" clId="{5F6AF4D4-9E70-48DC-AFAE-5B0BFBB50D61}" dt="2023-08-07T19:56:41.541" v="0"/>
          <ac:picMkLst>
            <pc:docMk/>
            <pc:sldMk cId="4215056789" sldId="2147472225"/>
            <ac:picMk id="6" creationId="{09E44FE6-8307-B67F-7E84-D24F6FD7571A}"/>
          </ac:picMkLst>
        </pc:picChg>
        <pc:picChg chg="mod">
          <ac:chgData name="Wise, Dana" userId="70e63ec6-51c5-46c7-b387-d3a85e40febb" providerId="ADAL" clId="{5F6AF4D4-9E70-48DC-AFAE-5B0BFBB50D61}" dt="2023-08-07T19:56:41.541" v="0"/>
          <ac:picMkLst>
            <pc:docMk/>
            <pc:sldMk cId="4215056789" sldId="2147472225"/>
            <ac:picMk id="7" creationId="{F28723D0-641C-E205-A989-5ADCE7CDBCAE}"/>
          </ac:picMkLst>
        </pc:picChg>
        <pc:picChg chg="mod">
          <ac:chgData name="Wise, Dana" userId="70e63ec6-51c5-46c7-b387-d3a85e40febb" providerId="ADAL" clId="{5F6AF4D4-9E70-48DC-AFAE-5B0BFBB50D61}" dt="2023-08-07T19:56:41.541" v="0"/>
          <ac:picMkLst>
            <pc:docMk/>
            <pc:sldMk cId="4215056789" sldId="2147472225"/>
            <ac:picMk id="8" creationId="{2E6AA189-6E49-56D7-C7B2-CC1B309A3C97}"/>
          </ac:picMkLst>
        </pc:picChg>
        <pc:picChg chg="mod">
          <ac:chgData name="Wise, Dana" userId="70e63ec6-51c5-46c7-b387-d3a85e40febb" providerId="ADAL" clId="{5F6AF4D4-9E70-48DC-AFAE-5B0BFBB50D61}" dt="2023-08-07T19:56:41.541" v="0"/>
          <ac:picMkLst>
            <pc:docMk/>
            <pc:sldMk cId="4215056789" sldId="2147472225"/>
            <ac:picMk id="12" creationId="{EE89C96F-FC76-43FB-AB06-8410C59A31B2}"/>
          </ac:picMkLst>
        </pc:picChg>
      </pc:sldChg>
      <pc:sldChg chg="modSp">
        <pc:chgData name="Wise, Dana" userId="70e63ec6-51c5-46c7-b387-d3a85e40febb" providerId="ADAL" clId="{5F6AF4D4-9E70-48DC-AFAE-5B0BFBB50D61}" dt="2023-08-07T19:56:41.541" v="0"/>
        <pc:sldMkLst>
          <pc:docMk/>
          <pc:sldMk cId="3360715190" sldId="2147472226"/>
        </pc:sldMkLst>
        <pc:spChg chg="mod">
          <ac:chgData name="Wise, Dana" userId="70e63ec6-51c5-46c7-b387-d3a85e40febb" providerId="ADAL" clId="{5F6AF4D4-9E70-48DC-AFAE-5B0BFBB50D61}" dt="2023-08-07T19:56:41.541" v="0"/>
          <ac:spMkLst>
            <pc:docMk/>
            <pc:sldMk cId="3360715190" sldId="2147472226"/>
            <ac:spMk id="2" creationId="{859E31E5-BE7B-41AB-8ADF-AC60552C5D9C}"/>
          </ac:spMkLst>
        </pc:spChg>
        <pc:spChg chg="mod">
          <ac:chgData name="Wise, Dana" userId="70e63ec6-51c5-46c7-b387-d3a85e40febb" providerId="ADAL" clId="{5F6AF4D4-9E70-48DC-AFAE-5B0BFBB50D61}" dt="2023-08-07T19:56:41.541" v="0"/>
          <ac:spMkLst>
            <pc:docMk/>
            <pc:sldMk cId="3360715190" sldId="2147472226"/>
            <ac:spMk id="4" creationId="{B5DBE96B-C5F2-4ACE-B73E-66BA09FC0987}"/>
          </ac:spMkLst>
        </pc:spChg>
        <pc:graphicFrameChg chg="mod">
          <ac:chgData name="Wise, Dana" userId="70e63ec6-51c5-46c7-b387-d3a85e40febb" providerId="ADAL" clId="{5F6AF4D4-9E70-48DC-AFAE-5B0BFBB50D61}" dt="2023-08-07T19:56:41.541" v="0"/>
          <ac:graphicFrameMkLst>
            <pc:docMk/>
            <pc:sldMk cId="3360715190" sldId="2147472226"/>
            <ac:graphicFrameMk id="6" creationId="{7D3B0A5B-BA83-A322-E352-A9A25E8AB748}"/>
          </ac:graphicFrameMkLst>
        </pc:graphicFrameChg>
      </pc:sldChg>
      <pc:sldChg chg="modSp">
        <pc:chgData name="Wise, Dana" userId="70e63ec6-51c5-46c7-b387-d3a85e40febb" providerId="ADAL" clId="{5F6AF4D4-9E70-48DC-AFAE-5B0BFBB50D61}" dt="2023-08-07T19:56:41.541" v="0"/>
        <pc:sldMkLst>
          <pc:docMk/>
          <pc:sldMk cId="2342889030" sldId="2147472228"/>
        </pc:sldMkLst>
        <pc:spChg chg="mod">
          <ac:chgData name="Wise, Dana" userId="70e63ec6-51c5-46c7-b387-d3a85e40febb" providerId="ADAL" clId="{5F6AF4D4-9E70-48DC-AFAE-5B0BFBB50D61}" dt="2023-08-07T19:56:41.541" v="0"/>
          <ac:spMkLst>
            <pc:docMk/>
            <pc:sldMk cId="2342889030" sldId="2147472228"/>
            <ac:spMk id="2" creationId="{1AFD767F-8294-410C-BF28-2EAAC71D5C4F}"/>
          </ac:spMkLst>
        </pc:spChg>
        <pc:spChg chg="mod">
          <ac:chgData name="Wise, Dana" userId="70e63ec6-51c5-46c7-b387-d3a85e40febb" providerId="ADAL" clId="{5F6AF4D4-9E70-48DC-AFAE-5B0BFBB50D61}" dt="2023-08-07T19:56:41.541" v="0"/>
          <ac:spMkLst>
            <pc:docMk/>
            <pc:sldMk cId="2342889030" sldId="2147472228"/>
            <ac:spMk id="11" creationId="{6E16865E-47AF-441F-9340-B1C953CF48CD}"/>
          </ac:spMkLst>
        </pc:spChg>
        <pc:picChg chg="mod">
          <ac:chgData name="Wise, Dana" userId="70e63ec6-51c5-46c7-b387-d3a85e40febb" providerId="ADAL" clId="{5F6AF4D4-9E70-48DC-AFAE-5B0BFBB50D61}" dt="2023-08-07T19:56:41.541" v="0"/>
          <ac:picMkLst>
            <pc:docMk/>
            <pc:sldMk cId="2342889030" sldId="2147472228"/>
            <ac:picMk id="8" creationId="{DAF8D133-94D0-40DC-9630-9A48E98E09C7}"/>
          </ac:picMkLst>
        </pc:picChg>
        <pc:picChg chg="mod">
          <ac:chgData name="Wise, Dana" userId="70e63ec6-51c5-46c7-b387-d3a85e40febb" providerId="ADAL" clId="{5F6AF4D4-9E70-48DC-AFAE-5B0BFBB50D61}" dt="2023-08-07T19:56:41.541" v="0"/>
          <ac:picMkLst>
            <pc:docMk/>
            <pc:sldMk cId="2342889030" sldId="2147472228"/>
            <ac:picMk id="10" creationId="{004AD8B5-ECED-4BC8-B50B-535FC772FC84}"/>
          </ac:picMkLst>
        </pc:picChg>
        <pc:picChg chg="mod">
          <ac:chgData name="Wise, Dana" userId="70e63ec6-51c5-46c7-b387-d3a85e40febb" providerId="ADAL" clId="{5F6AF4D4-9E70-48DC-AFAE-5B0BFBB50D61}" dt="2023-08-07T19:56:41.541" v="0"/>
          <ac:picMkLst>
            <pc:docMk/>
            <pc:sldMk cId="2342889030" sldId="2147472228"/>
            <ac:picMk id="13" creationId="{DE08EC96-270D-4F15-BF2B-D8018DE0C0E8}"/>
          </ac:picMkLst>
        </pc:picChg>
        <pc:picChg chg="mod">
          <ac:chgData name="Wise, Dana" userId="70e63ec6-51c5-46c7-b387-d3a85e40febb" providerId="ADAL" clId="{5F6AF4D4-9E70-48DC-AFAE-5B0BFBB50D61}" dt="2023-08-07T19:56:41.541" v="0"/>
          <ac:picMkLst>
            <pc:docMk/>
            <pc:sldMk cId="2342889030" sldId="2147472228"/>
            <ac:picMk id="15" creationId="{0AE7007A-42E4-434C-A139-D5696DC694FB}"/>
          </ac:picMkLst>
        </pc:picChg>
      </pc:sldChg>
      <pc:sldChg chg="modSp">
        <pc:chgData name="Wise, Dana" userId="70e63ec6-51c5-46c7-b387-d3a85e40febb" providerId="ADAL" clId="{5F6AF4D4-9E70-48DC-AFAE-5B0BFBB50D61}" dt="2023-08-07T19:56:41.541" v="0"/>
        <pc:sldMkLst>
          <pc:docMk/>
          <pc:sldMk cId="4223386410" sldId="2147472230"/>
        </pc:sldMkLst>
        <pc:picChg chg="mod">
          <ac:chgData name="Wise, Dana" userId="70e63ec6-51c5-46c7-b387-d3a85e40febb" providerId="ADAL" clId="{5F6AF4D4-9E70-48DC-AFAE-5B0BFBB50D61}" dt="2023-08-07T19:56:41.541" v="0"/>
          <ac:picMkLst>
            <pc:docMk/>
            <pc:sldMk cId="4223386410" sldId="2147472230"/>
            <ac:picMk id="8" creationId="{CE4927B8-1355-145C-DE94-EA37858F1E0F}"/>
          </ac:picMkLst>
        </pc:picChg>
      </pc:sldChg>
      <pc:sldChg chg="addSp delSp modSp mod">
        <pc:chgData name="Wise, Dana" userId="70e63ec6-51c5-46c7-b387-d3a85e40febb" providerId="ADAL" clId="{5F6AF4D4-9E70-48DC-AFAE-5B0BFBB50D61}" dt="2023-08-07T20:37:08.133" v="472" actId="20577"/>
        <pc:sldMkLst>
          <pc:docMk/>
          <pc:sldMk cId="870992311" sldId="2147472231"/>
        </pc:sldMkLst>
        <pc:spChg chg="mod">
          <ac:chgData name="Wise, Dana" userId="70e63ec6-51c5-46c7-b387-d3a85e40febb" providerId="ADAL" clId="{5F6AF4D4-9E70-48DC-AFAE-5B0BFBB50D61}" dt="2023-08-07T20:01:44.565" v="24"/>
          <ac:spMkLst>
            <pc:docMk/>
            <pc:sldMk cId="870992311" sldId="2147472231"/>
            <ac:spMk id="2" creationId="{99B179C6-6DA7-165E-4BB0-7D48F8607545}"/>
          </ac:spMkLst>
        </pc:spChg>
        <pc:spChg chg="add del mod">
          <ac:chgData name="Wise, Dana" userId="70e63ec6-51c5-46c7-b387-d3a85e40febb" providerId="ADAL" clId="{5F6AF4D4-9E70-48DC-AFAE-5B0BFBB50D61}" dt="2023-08-07T20:01:44.565" v="24"/>
          <ac:spMkLst>
            <pc:docMk/>
            <pc:sldMk cId="870992311" sldId="2147472231"/>
            <ac:spMk id="3" creationId="{D1D4F48A-4E1B-4322-B00D-BDA00A239628}"/>
          </ac:spMkLst>
        </pc:spChg>
        <pc:spChg chg="mod">
          <ac:chgData name="Wise, Dana" userId="70e63ec6-51c5-46c7-b387-d3a85e40febb" providerId="ADAL" clId="{5F6AF4D4-9E70-48DC-AFAE-5B0BFBB50D61}" dt="2023-08-07T20:01:44.565" v="24"/>
          <ac:spMkLst>
            <pc:docMk/>
            <pc:sldMk cId="870992311" sldId="2147472231"/>
            <ac:spMk id="4" creationId="{C0E84995-069E-14BB-59CF-44FE8095B744}"/>
          </ac:spMkLst>
        </pc:spChg>
        <pc:spChg chg="add del mod">
          <ac:chgData name="Wise, Dana" userId="70e63ec6-51c5-46c7-b387-d3a85e40febb" providerId="ADAL" clId="{5F6AF4D4-9E70-48DC-AFAE-5B0BFBB50D61}" dt="2023-08-07T20:01:44.565" v="24"/>
          <ac:spMkLst>
            <pc:docMk/>
            <pc:sldMk cId="870992311" sldId="2147472231"/>
            <ac:spMk id="7" creationId="{C397504F-DDA1-41EC-ABDA-2AEC1A2F1AD7}"/>
          </ac:spMkLst>
        </pc:spChg>
        <pc:spChg chg="add mod">
          <ac:chgData name="Wise, Dana" userId="70e63ec6-51c5-46c7-b387-d3a85e40febb" providerId="ADAL" clId="{5F6AF4D4-9E70-48DC-AFAE-5B0BFBB50D61}" dt="2023-08-07T20:37:08.133" v="472" actId="20577"/>
          <ac:spMkLst>
            <pc:docMk/>
            <pc:sldMk cId="870992311" sldId="2147472231"/>
            <ac:spMk id="8" creationId="{EF780758-2DDD-4F0D-929F-090DC2E73EA1}"/>
          </ac:spMkLst>
        </pc:spChg>
        <pc:picChg chg="mod ord">
          <ac:chgData name="Wise, Dana" userId="70e63ec6-51c5-46c7-b387-d3a85e40febb" providerId="ADAL" clId="{5F6AF4D4-9E70-48DC-AFAE-5B0BFBB50D61}" dt="2023-08-07T20:36:32.982" v="441" actId="1076"/>
          <ac:picMkLst>
            <pc:docMk/>
            <pc:sldMk cId="870992311" sldId="2147472231"/>
            <ac:picMk id="5" creationId="{8C830B65-DD40-95DB-AE2F-77B3CF771BC6}"/>
          </ac:picMkLst>
        </pc:picChg>
        <pc:picChg chg="del mod">
          <ac:chgData name="Wise, Dana" userId="70e63ec6-51c5-46c7-b387-d3a85e40febb" providerId="ADAL" clId="{5F6AF4D4-9E70-48DC-AFAE-5B0BFBB50D61}" dt="2023-08-07T20:35:26.691" v="339" actId="478"/>
          <ac:picMkLst>
            <pc:docMk/>
            <pc:sldMk cId="870992311" sldId="2147472231"/>
            <ac:picMk id="6" creationId="{0F4AC2CE-D75B-0550-7A63-28F8DDFF0E78}"/>
          </ac:picMkLst>
        </pc:picChg>
        <pc:picChg chg="add mod">
          <ac:chgData name="Wise, Dana" userId="70e63ec6-51c5-46c7-b387-d3a85e40febb" providerId="ADAL" clId="{5F6AF4D4-9E70-48DC-AFAE-5B0BFBB50D61}" dt="2023-08-07T20:35:55.745" v="350" actId="1076"/>
          <ac:picMkLst>
            <pc:docMk/>
            <pc:sldMk cId="870992311" sldId="2147472231"/>
            <ac:picMk id="10" creationId="{866F5857-F4F8-4FC9-82FB-D6ECF31C7C0A}"/>
          </ac:picMkLst>
        </pc:picChg>
      </pc:sldChg>
      <pc:sldChg chg="add del mod modShow">
        <pc:chgData name="Wise, Dana" userId="70e63ec6-51c5-46c7-b387-d3a85e40febb" providerId="ADAL" clId="{5F6AF4D4-9E70-48DC-AFAE-5B0BFBB50D61}" dt="2023-08-07T20:00:35.432" v="18" actId="2696"/>
        <pc:sldMkLst>
          <pc:docMk/>
          <pc:sldMk cId="2649922953" sldId="2147472232"/>
        </pc:sldMkLst>
      </pc:sldChg>
      <pc:sldChg chg="add mod modShow">
        <pc:chgData name="Wise, Dana" userId="70e63ec6-51c5-46c7-b387-d3a85e40febb" providerId="ADAL" clId="{5F6AF4D4-9E70-48DC-AFAE-5B0BFBB50D61}" dt="2023-08-07T19:58:22.548" v="13" actId="729"/>
        <pc:sldMkLst>
          <pc:docMk/>
          <pc:sldMk cId="4097866" sldId="2147472233"/>
        </pc:sldMkLst>
      </pc:sldChg>
      <pc:sldChg chg="add mod modShow">
        <pc:chgData name="Wise, Dana" userId="70e63ec6-51c5-46c7-b387-d3a85e40febb" providerId="ADAL" clId="{5F6AF4D4-9E70-48DC-AFAE-5B0BFBB50D61}" dt="2023-08-07T19:58:22.548" v="13" actId="729"/>
        <pc:sldMkLst>
          <pc:docMk/>
          <pc:sldMk cId="2040539533" sldId="2147472234"/>
        </pc:sldMkLst>
      </pc:sldChg>
      <pc:sldChg chg="add del mod modShow">
        <pc:chgData name="Wise, Dana" userId="70e63ec6-51c5-46c7-b387-d3a85e40febb" providerId="ADAL" clId="{5F6AF4D4-9E70-48DC-AFAE-5B0BFBB50D61}" dt="2023-08-07T20:00:08.644" v="17" actId="2696"/>
        <pc:sldMkLst>
          <pc:docMk/>
          <pc:sldMk cId="4226683662" sldId="2147472235"/>
        </pc:sldMkLst>
      </pc:sldChg>
      <pc:sldChg chg="add mod modShow">
        <pc:chgData name="Wise, Dana" userId="70e63ec6-51c5-46c7-b387-d3a85e40febb" providerId="ADAL" clId="{5F6AF4D4-9E70-48DC-AFAE-5B0BFBB50D61}" dt="2023-08-07T19:58:22.548" v="13" actId="729"/>
        <pc:sldMkLst>
          <pc:docMk/>
          <pc:sldMk cId="415760300" sldId="2147472236"/>
        </pc:sldMkLst>
      </pc:sldChg>
      <pc:sldChg chg="add del">
        <pc:chgData name="Wise, Dana" userId="70e63ec6-51c5-46c7-b387-d3a85e40febb" providerId="ADAL" clId="{5F6AF4D4-9E70-48DC-AFAE-5B0BFBB50D61}" dt="2023-08-07T19:57:45.309" v="6"/>
        <pc:sldMkLst>
          <pc:docMk/>
          <pc:sldMk cId="1188060110" sldId="2147472237"/>
        </pc:sldMkLst>
      </pc:sldChg>
      <pc:sldChg chg="add mod modShow">
        <pc:chgData name="Wise, Dana" userId="70e63ec6-51c5-46c7-b387-d3a85e40febb" providerId="ADAL" clId="{5F6AF4D4-9E70-48DC-AFAE-5B0BFBB50D61}" dt="2023-08-07T19:58:22.548" v="13" actId="729"/>
        <pc:sldMkLst>
          <pc:docMk/>
          <pc:sldMk cId="3697347946" sldId="2147472237"/>
        </pc:sldMkLst>
      </pc:sldChg>
      <pc:sldChg chg="add mod modShow">
        <pc:chgData name="Wise, Dana" userId="70e63ec6-51c5-46c7-b387-d3a85e40febb" providerId="ADAL" clId="{5F6AF4D4-9E70-48DC-AFAE-5B0BFBB50D61}" dt="2023-08-07T19:58:22.548" v="13" actId="729"/>
        <pc:sldMkLst>
          <pc:docMk/>
          <pc:sldMk cId="1339896801" sldId="2147472238"/>
        </pc:sldMkLst>
      </pc:sldChg>
      <pc:sldChg chg="add del">
        <pc:chgData name="Wise, Dana" userId="70e63ec6-51c5-46c7-b387-d3a85e40febb" providerId="ADAL" clId="{5F6AF4D4-9E70-48DC-AFAE-5B0BFBB50D61}" dt="2023-08-07T19:57:45.309" v="6"/>
        <pc:sldMkLst>
          <pc:docMk/>
          <pc:sldMk cId="4215056789" sldId="2147472238"/>
        </pc:sldMkLst>
      </pc:sldChg>
      <pc:sldChg chg="add mod modShow">
        <pc:chgData name="Wise, Dana" userId="70e63ec6-51c5-46c7-b387-d3a85e40febb" providerId="ADAL" clId="{5F6AF4D4-9E70-48DC-AFAE-5B0BFBB50D61}" dt="2023-08-07T19:58:22.548" v="13" actId="729"/>
        <pc:sldMkLst>
          <pc:docMk/>
          <pc:sldMk cId="1213731348" sldId="2147472239"/>
        </pc:sldMkLst>
      </pc:sldChg>
      <pc:sldChg chg="add del mod modShow">
        <pc:chgData name="Wise, Dana" userId="70e63ec6-51c5-46c7-b387-d3a85e40febb" providerId="ADAL" clId="{5F6AF4D4-9E70-48DC-AFAE-5B0BFBB50D61}" dt="2023-08-07T20:00:03.582" v="15" actId="2696"/>
        <pc:sldMkLst>
          <pc:docMk/>
          <pc:sldMk cId="3436552126" sldId="2147472240"/>
        </pc:sldMkLst>
      </pc:sldChg>
      <pc:sldChg chg="add del mod modShow">
        <pc:chgData name="Wise, Dana" userId="70e63ec6-51c5-46c7-b387-d3a85e40febb" providerId="ADAL" clId="{5F6AF4D4-9E70-48DC-AFAE-5B0BFBB50D61}" dt="2023-08-07T20:00:05.405" v="16" actId="2696"/>
        <pc:sldMkLst>
          <pc:docMk/>
          <pc:sldMk cId="2239642881" sldId="2147472241"/>
        </pc:sldMkLst>
      </pc:sldChg>
      <pc:sldMasterChg chg="modSp delSldLayout modSldLayout">
        <pc:chgData name="Wise, Dana" userId="70e63ec6-51c5-46c7-b387-d3a85e40febb" providerId="ADAL" clId="{5F6AF4D4-9E70-48DC-AFAE-5B0BFBB50D61}" dt="2023-08-07T20:00:35.432" v="18" actId="2696"/>
        <pc:sldMasterMkLst>
          <pc:docMk/>
          <pc:sldMasterMk cId="2530762699" sldId="2147483701"/>
        </pc:sldMasterMkLst>
        <pc:spChg chg="mod">
          <ac:chgData name="Wise, Dana" userId="70e63ec6-51c5-46c7-b387-d3a85e40febb" providerId="ADAL" clId="{5F6AF4D4-9E70-48DC-AFAE-5B0BFBB50D61}" dt="2023-08-07T19:56:41.541" v="0"/>
          <ac:spMkLst>
            <pc:docMk/>
            <pc:sldMasterMk cId="2530762699" sldId="2147483701"/>
            <ac:spMk id="4" creationId="{F0782C2B-A5A0-C04D-9DA5-74DC61FF2DA6}"/>
          </ac:spMkLst>
        </pc:spChg>
        <pc:spChg chg="mod">
          <ac:chgData name="Wise, Dana" userId="70e63ec6-51c5-46c7-b387-d3a85e40febb" providerId="ADAL" clId="{5F6AF4D4-9E70-48DC-AFAE-5B0BFBB50D61}" dt="2023-08-07T19:56:41.541" v="0"/>
          <ac:spMkLst>
            <pc:docMk/>
            <pc:sldMasterMk cId="2530762699" sldId="2147483701"/>
            <ac:spMk id="5" creationId="{58023D4F-DAE9-EC46-99AC-2115C96A986A}"/>
          </ac:spMkLst>
        </pc:spChg>
        <pc:spChg chg="mod">
          <ac:chgData name="Wise, Dana" userId="70e63ec6-51c5-46c7-b387-d3a85e40febb" providerId="ADAL" clId="{5F6AF4D4-9E70-48DC-AFAE-5B0BFBB50D61}" dt="2023-08-07T19:56:41.541" v="0"/>
          <ac:spMkLst>
            <pc:docMk/>
            <pc:sldMasterMk cId="2530762699" sldId="2147483701"/>
            <ac:spMk id="6" creationId="{54AD2E87-F416-4650-863C-8B826391AD73}"/>
          </ac:spMkLst>
        </pc:spChg>
        <pc:spChg chg="mod">
          <ac:chgData name="Wise, Dana" userId="70e63ec6-51c5-46c7-b387-d3a85e40febb" providerId="ADAL" clId="{5F6AF4D4-9E70-48DC-AFAE-5B0BFBB50D61}" dt="2023-08-07T19:56:41.541" v="0"/>
          <ac:spMkLst>
            <pc:docMk/>
            <pc:sldMasterMk cId="2530762699" sldId="2147483701"/>
            <ac:spMk id="7" creationId="{701A8757-5FEC-47BA-A12B-15160D7A32B2}"/>
          </ac:spMkLst>
        </pc:spChg>
        <pc:spChg chg="mod">
          <ac:chgData name="Wise, Dana" userId="70e63ec6-51c5-46c7-b387-d3a85e40febb" providerId="ADAL" clId="{5F6AF4D4-9E70-48DC-AFAE-5B0BFBB50D61}" dt="2023-08-07T19:56:41.541" v="0"/>
          <ac:spMkLst>
            <pc:docMk/>
            <pc:sldMasterMk cId="2530762699" sldId="2147483701"/>
            <ac:spMk id="16" creationId="{00C6049B-E1EB-4A95-A30D-EB673A781747}"/>
          </ac:spMkLst>
        </pc:spChg>
        <pc:spChg chg="mod">
          <ac:chgData name="Wise, Dana" userId="70e63ec6-51c5-46c7-b387-d3a85e40febb" providerId="ADAL" clId="{5F6AF4D4-9E70-48DC-AFAE-5B0BFBB50D61}" dt="2023-08-07T19:56:41.541" v="0"/>
          <ac:spMkLst>
            <pc:docMk/>
            <pc:sldMasterMk cId="2530762699" sldId="2147483701"/>
            <ac:spMk id="20" creationId="{4CF489C0-760C-43B7-8C07-A290C7B0B6B9}"/>
          </ac:spMkLst>
        </pc:spChg>
        <pc:graphicFrameChg chg="mod">
          <ac:chgData name="Wise, Dana" userId="70e63ec6-51c5-46c7-b387-d3a85e40febb" providerId="ADAL" clId="{5F6AF4D4-9E70-48DC-AFAE-5B0BFBB50D61}" dt="2023-08-07T19:56:41.541" v="0"/>
          <ac:graphicFrameMkLst>
            <pc:docMk/>
            <pc:sldMasterMk cId="2530762699" sldId="2147483701"/>
            <ac:graphicFrameMk id="3" creationId="{E33C3C15-431A-4959-8649-43AA52F84624}"/>
          </ac:graphicFrameMkLst>
        </pc:graphicFrameChg>
        <pc:picChg chg="mod">
          <ac:chgData name="Wise, Dana" userId="70e63ec6-51c5-46c7-b387-d3a85e40febb" providerId="ADAL" clId="{5F6AF4D4-9E70-48DC-AFAE-5B0BFBB50D61}" dt="2023-08-07T19:56:41.541" v="0"/>
          <ac:picMkLst>
            <pc:docMk/>
            <pc:sldMasterMk cId="2530762699" sldId="2147483701"/>
            <ac:picMk id="19" creationId="{29049C6A-296E-4945-A889-44BC7719BAA7}"/>
          </ac:picMkLst>
        </pc:picChg>
        <pc:picChg chg="mod">
          <ac:chgData name="Wise, Dana" userId="70e63ec6-51c5-46c7-b387-d3a85e40febb" providerId="ADAL" clId="{5F6AF4D4-9E70-48DC-AFAE-5B0BFBB50D61}" dt="2023-08-07T19:56:41.541" v="0"/>
          <ac:picMkLst>
            <pc:docMk/>
            <pc:sldMasterMk cId="2530762699" sldId="2147483701"/>
            <ac:picMk id="24" creationId="{785DFB54-9645-49E7-B2BA-E0239DFC9F0A}"/>
          </ac:picMkLst>
        </pc:picChg>
        <pc:picChg chg="mod">
          <ac:chgData name="Wise, Dana" userId="70e63ec6-51c5-46c7-b387-d3a85e40febb" providerId="ADAL" clId="{5F6AF4D4-9E70-48DC-AFAE-5B0BFBB50D61}" dt="2023-08-07T19:56:41.541" v="0"/>
          <ac:picMkLst>
            <pc:docMk/>
            <pc:sldMasterMk cId="2530762699" sldId="2147483701"/>
            <ac:picMk id="25" creationId="{BF175280-66CE-4AD0-B28C-A715AB7D6133}"/>
          </ac:picMkLst>
        </pc:picChg>
        <pc:cxnChg chg="mod">
          <ac:chgData name="Wise, Dana" userId="70e63ec6-51c5-46c7-b387-d3a85e40febb" providerId="ADAL" clId="{5F6AF4D4-9E70-48DC-AFAE-5B0BFBB50D61}" dt="2023-08-07T19:56:41.541" v="0"/>
          <ac:cxnSpMkLst>
            <pc:docMk/>
            <pc:sldMasterMk cId="2530762699" sldId="2147483701"/>
            <ac:cxnSpMk id="22" creationId="{2CBD5A50-C139-4334-B053-C0CA7F56D5A0}"/>
          </ac:cxnSpMkLst>
        </pc:cxnChg>
        <pc:sldLayoutChg chg="modSp">
          <pc:chgData name="Wise, Dana" userId="70e63ec6-51c5-46c7-b387-d3a85e40febb" providerId="ADAL" clId="{5F6AF4D4-9E70-48DC-AFAE-5B0BFBB50D61}" dt="2023-08-07T19:56:41.541" v="0"/>
          <pc:sldLayoutMkLst>
            <pc:docMk/>
            <pc:sldMasterMk cId="2530762699" sldId="2147483701"/>
            <pc:sldLayoutMk cId="3740022013" sldId="2147483704"/>
          </pc:sldLayoutMkLst>
          <pc:spChg chg="mod">
            <ac:chgData name="Wise, Dana" userId="70e63ec6-51c5-46c7-b387-d3a85e40febb" providerId="ADAL" clId="{5F6AF4D4-9E70-48DC-AFAE-5B0BFBB50D61}" dt="2023-08-07T19:56:41.541" v="0"/>
            <ac:spMkLst>
              <pc:docMk/>
              <pc:sldMasterMk cId="2530762699" sldId="2147483701"/>
              <pc:sldLayoutMk cId="3740022013" sldId="2147483704"/>
              <ac:spMk id="2" creationId="{F897CFAE-2D54-B14C-93BA-05695BD7EA7B}"/>
            </ac:spMkLst>
          </pc:spChg>
          <pc:spChg chg="mod">
            <ac:chgData name="Wise, Dana" userId="70e63ec6-51c5-46c7-b387-d3a85e40febb" providerId="ADAL" clId="{5F6AF4D4-9E70-48DC-AFAE-5B0BFBB50D61}" dt="2023-08-07T19:56:41.541" v="0"/>
            <ac:spMkLst>
              <pc:docMk/>
              <pc:sldMasterMk cId="2530762699" sldId="2147483701"/>
              <pc:sldLayoutMk cId="3740022013" sldId="2147483704"/>
              <ac:spMk id="3" creationId="{D76AEC3D-15C1-EF4E-BA0B-4BCF9CA6B8F6}"/>
            </ac:spMkLst>
          </pc:spChg>
          <pc:spChg chg="mod">
            <ac:chgData name="Wise, Dana" userId="70e63ec6-51c5-46c7-b387-d3a85e40febb" providerId="ADAL" clId="{5F6AF4D4-9E70-48DC-AFAE-5B0BFBB50D61}" dt="2023-08-07T19:56:41.541" v="0"/>
            <ac:spMkLst>
              <pc:docMk/>
              <pc:sldMasterMk cId="2530762699" sldId="2147483701"/>
              <pc:sldLayoutMk cId="3740022013" sldId="2147483704"/>
              <ac:spMk id="4" creationId="{02F97CAD-A4B6-497D-B24E-7AFBCD7ECD3B}"/>
            </ac:spMkLst>
          </pc:spChg>
          <pc:spChg chg="mod">
            <ac:chgData name="Wise, Dana" userId="70e63ec6-51c5-46c7-b387-d3a85e40febb" providerId="ADAL" clId="{5F6AF4D4-9E70-48DC-AFAE-5B0BFBB50D61}" dt="2023-08-07T19:56:41.541" v="0"/>
            <ac:spMkLst>
              <pc:docMk/>
              <pc:sldMasterMk cId="2530762699" sldId="2147483701"/>
              <pc:sldLayoutMk cId="3740022013" sldId="2147483704"/>
              <ac:spMk id="39" creationId="{F646AC25-CF32-4BCC-B4B8-1F4AA3CE3D37}"/>
            </ac:spMkLst>
          </pc:spChg>
          <pc:graphicFrameChg chg="mod">
            <ac:chgData name="Wise, Dana" userId="70e63ec6-51c5-46c7-b387-d3a85e40febb" providerId="ADAL" clId="{5F6AF4D4-9E70-48DC-AFAE-5B0BFBB50D61}" dt="2023-08-07T19:56:41.541" v="0"/>
            <ac:graphicFrameMkLst>
              <pc:docMk/>
              <pc:sldMasterMk cId="2530762699" sldId="2147483701"/>
              <pc:sldLayoutMk cId="3740022013" sldId="2147483704"/>
              <ac:graphicFrameMk id="6" creationId="{5F66F7D4-492E-43AB-8EBD-78BC7D879238}"/>
            </ac:graphicFrameMkLst>
          </pc:graphicFrameChg>
          <pc:picChg chg="mod">
            <ac:chgData name="Wise, Dana" userId="70e63ec6-51c5-46c7-b387-d3a85e40febb" providerId="ADAL" clId="{5F6AF4D4-9E70-48DC-AFAE-5B0BFBB50D61}" dt="2023-08-07T19:56:41.541" v="0"/>
            <ac:picMkLst>
              <pc:docMk/>
              <pc:sldMasterMk cId="2530762699" sldId="2147483701"/>
              <pc:sldLayoutMk cId="3740022013" sldId="2147483704"/>
              <ac:picMk id="13" creationId="{BFA10083-0C1A-4CC3-A910-2928392765CB}"/>
            </ac:picMkLst>
          </pc:picChg>
          <pc:picChg chg="mod">
            <ac:chgData name="Wise, Dana" userId="70e63ec6-51c5-46c7-b387-d3a85e40febb" providerId="ADAL" clId="{5F6AF4D4-9E70-48DC-AFAE-5B0BFBB50D61}" dt="2023-08-07T19:56:41.541" v="0"/>
            <ac:picMkLst>
              <pc:docMk/>
              <pc:sldMasterMk cId="2530762699" sldId="2147483701"/>
              <pc:sldLayoutMk cId="3740022013" sldId="2147483704"/>
              <ac:picMk id="14" creationId="{63392791-DE4D-4F71-B7B3-89FE9E351183}"/>
            </ac:picMkLst>
          </pc:picChg>
          <pc:picChg chg="mod">
            <ac:chgData name="Wise, Dana" userId="70e63ec6-51c5-46c7-b387-d3a85e40febb" providerId="ADAL" clId="{5F6AF4D4-9E70-48DC-AFAE-5B0BFBB50D61}" dt="2023-08-07T19:56:41.541" v="0"/>
            <ac:picMkLst>
              <pc:docMk/>
              <pc:sldMasterMk cId="2530762699" sldId="2147483701"/>
              <pc:sldLayoutMk cId="3740022013" sldId="2147483704"/>
              <ac:picMk id="24" creationId="{F8FC9534-51DB-4260-BC9B-6C10D44804E7}"/>
            </ac:picMkLst>
          </pc:picChg>
          <pc:picChg chg="mod">
            <ac:chgData name="Wise, Dana" userId="70e63ec6-51c5-46c7-b387-d3a85e40febb" providerId="ADAL" clId="{5F6AF4D4-9E70-48DC-AFAE-5B0BFBB50D61}" dt="2023-08-07T19:56:41.541" v="0"/>
            <ac:picMkLst>
              <pc:docMk/>
              <pc:sldMasterMk cId="2530762699" sldId="2147483701"/>
              <pc:sldLayoutMk cId="3740022013" sldId="2147483704"/>
              <ac:picMk id="28" creationId="{D4422222-FCAE-49F0-BC62-6F9534B09C58}"/>
            </ac:picMkLst>
          </pc:picChg>
          <pc:picChg chg="mod">
            <ac:chgData name="Wise, Dana" userId="70e63ec6-51c5-46c7-b387-d3a85e40febb" providerId="ADAL" clId="{5F6AF4D4-9E70-48DC-AFAE-5B0BFBB50D61}" dt="2023-08-07T19:56:41.541" v="0"/>
            <ac:picMkLst>
              <pc:docMk/>
              <pc:sldMasterMk cId="2530762699" sldId="2147483701"/>
              <pc:sldLayoutMk cId="3740022013" sldId="2147483704"/>
              <ac:picMk id="29" creationId="{0D443D97-0D1A-4AF6-B72D-2D4FE8BC1107}"/>
            </ac:picMkLst>
          </pc:picChg>
          <pc:cxnChg chg="mod">
            <ac:chgData name="Wise, Dana" userId="70e63ec6-51c5-46c7-b387-d3a85e40febb" providerId="ADAL" clId="{5F6AF4D4-9E70-48DC-AFAE-5B0BFBB50D61}" dt="2023-08-07T19:56:41.541" v="0"/>
            <ac:cxnSpMkLst>
              <pc:docMk/>
              <pc:sldMasterMk cId="2530762699" sldId="2147483701"/>
              <pc:sldLayoutMk cId="3740022013" sldId="2147483704"/>
              <ac:cxnSpMk id="27" creationId="{9984F43B-1BE2-4CD7-8638-9BED1D589D7B}"/>
            </ac:cxnSpMkLst>
          </pc:cxnChg>
          <pc:cxnChg chg="mod">
            <ac:chgData name="Wise, Dana" userId="70e63ec6-51c5-46c7-b387-d3a85e40febb" providerId="ADAL" clId="{5F6AF4D4-9E70-48DC-AFAE-5B0BFBB50D61}" dt="2023-08-07T19:56:41.541" v="0"/>
            <ac:cxnSpMkLst>
              <pc:docMk/>
              <pc:sldMasterMk cId="2530762699" sldId="2147483701"/>
              <pc:sldLayoutMk cId="3740022013" sldId="2147483704"/>
              <ac:cxnSpMk id="34" creationId="{22F97F3F-AF52-4FD1-92A2-6BCC381DF226}"/>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3942115429" sldId="2147483706"/>
          </pc:sldLayoutMkLst>
          <pc:spChg chg="mod">
            <ac:chgData name="Wise, Dana" userId="70e63ec6-51c5-46c7-b387-d3a85e40febb" providerId="ADAL" clId="{5F6AF4D4-9E70-48DC-AFAE-5B0BFBB50D61}" dt="2023-08-07T19:56:41.541" v="0"/>
            <ac:spMkLst>
              <pc:docMk/>
              <pc:sldMasterMk cId="2530762699" sldId="2147483701"/>
              <pc:sldLayoutMk cId="3942115429" sldId="2147483706"/>
              <ac:spMk id="2" creationId="{F897CFAE-2D54-B14C-93BA-05695BD7EA7B}"/>
            </ac:spMkLst>
          </pc:spChg>
          <pc:spChg chg="mod">
            <ac:chgData name="Wise, Dana" userId="70e63ec6-51c5-46c7-b387-d3a85e40febb" providerId="ADAL" clId="{5F6AF4D4-9E70-48DC-AFAE-5B0BFBB50D61}" dt="2023-08-07T19:56:41.541" v="0"/>
            <ac:spMkLst>
              <pc:docMk/>
              <pc:sldMasterMk cId="2530762699" sldId="2147483701"/>
              <pc:sldLayoutMk cId="3942115429" sldId="2147483706"/>
              <ac:spMk id="14" creationId="{6829CE93-B435-45A5-8F92-72FDBAABB912}"/>
            </ac:spMkLst>
          </pc:spChg>
          <pc:spChg chg="mod">
            <ac:chgData name="Wise, Dana" userId="70e63ec6-51c5-46c7-b387-d3a85e40febb" providerId="ADAL" clId="{5F6AF4D4-9E70-48DC-AFAE-5B0BFBB50D61}" dt="2023-08-07T19:56:41.541" v="0"/>
            <ac:spMkLst>
              <pc:docMk/>
              <pc:sldMasterMk cId="2530762699" sldId="2147483701"/>
              <pc:sldLayoutMk cId="3942115429" sldId="2147483706"/>
              <ac:spMk id="15" creationId="{AB7840D2-155F-43AA-86BE-2EA8A0E38576}"/>
            </ac:spMkLst>
          </pc:spChg>
          <pc:spChg chg="mod">
            <ac:chgData name="Wise, Dana" userId="70e63ec6-51c5-46c7-b387-d3a85e40febb" providerId="ADAL" clId="{5F6AF4D4-9E70-48DC-AFAE-5B0BFBB50D61}" dt="2023-08-07T19:56:41.541" v="0"/>
            <ac:spMkLst>
              <pc:docMk/>
              <pc:sldMasterMk cId="2530762699" sldId="2147483701"/>
              <pc:sldLayoutMk cId="3942115429" sldId="2147483706"/>
              <ac:spMk id="21" creationId="{F2BB7CB8-2335-4A07-90B8-76DE4E6C370A}"/>
            </ac:spMkLst>
          </pc:spChg>
          <pc:grpChg chg="mod">
            <ac:chgData name="Wise, Dana" userId="70e63ec6-51c5-46c7-b387-d3a85e40febb" providerId="ADAL" clId="{5F6AF4D4-9E70-48DC-AFAE-5B0BFBB50D61}" dt="2023-08-07T19:56:41.541" v="0"/>
            <ac:grpSpMkLst>
              <pc:docMk/>
              <pc:sldMasterMk cId="2530762699" sldId="2147483701"/>
              <pc:sldLayoutMk cId="3942115429" sldId="2147483706"/>
              <ac:grpSpMk id="13" creationId="{3E525BD1-398E-42F1-B305-083DA74A575B}"/>
            </ac:grpSpMkLst>
          </pc:grpChg>
          <pc:graphicFrameChg chg="mod">
            <ac:chgData name="Wise, Dana" userId="70e63ec6-51c5-46c7-b387-d3a85e40febb" providerId="ADAL" clId="{5F6AF4D4-9E70-48DC-AFAE-5B0BFBB50D61}" dt="2023-08-07T19:56:41.541" v="0"/>
            <ac:graphicFrameMkLst>
              <pc:docMk/>
              <pc:sldMasterMk cId="2530762699" sldId="2147483701"/>
              <pc:sldLayoutMk cId="3942115429" sldId="2147483706"/>
              <ac:graphicFrameMk id="5" creationId="{99B10529-FBDC-4621-8DD5-517C7CBDCB80}"/>
            </ac:graphicFrameMkLst>
          </pc:graphicFrameChg>
          <pc:picChg chg="mod">
            <ac:chgData name="Wise, Dana" userId="70e63ec6-51c5-46c7-b387-d3a85e40febb" providerId="ADAL" clId="{5F6AF4D4-9E70-48DC-AFAE-5B0BFBB50D61}" dt="2023-08-07T19:56:41.541" v="0"/>
            <ac:picMkLst>
              <pc:docMk/>
              <pc:sldMasterMk cId="2530762699" sldId="2147483701"/>
              <pc:sldLayoutMk cId="3942115429" sldId="2147483706"/>
              <ac:picMk id="12" creationId="{BEFB49D2-B17C-4BA4-9394-EE5B2E0F7518}"/>
            </ac:picMkLst>
          </pc:picChg>
          <pc:picChg chg="mod">
            <ac:chgData name="Wise, Dana" userId="70e63ec6-51c5-46c7-b387-d3a85e40febb" providerId="ADAL" clId="{5F6AF4D4-9E70-48DC-AFAE-5B0BFBB50D61}" dt="2023-08-07T19:56:41.541" v="0"/>
            <ac:picMkLst>
              <pc:docMk/>
              <pc:sldMasterMk cId="2530762699" sldId="2147483701"/>
              <pc:sldLayoutMk cId="3942115429" sldId="2147483706"/>
              <ac:picMk id="17" creationId="{F4E19D00-2EF6-4864-8BE3-938B83205707}"/>
            </ac:picMkLst>
          </pc:picChg>
          <pc:picChg chg="mod">
            <ac:chgData name="Wise, Dana" userId="70e63ec6-51c5-46c7-b387-d3a85e40febb" providerId="ADAL" clId="{5F6AF4D4-9E70-48DC-AFAE-5B0BFBB50D61}" dt="2023-08-07T19:56:41.541" v="0"/>
            <ac:picMkLst>
              <pc:docMk/>
              <pc:sldMasterMk cId="2530762699" sldId="2147483701"/>
              <pc:sldLayoutMk cId="3942115429" sldId="2147483706"/>
              <ac:picMk id="19" creationId="{AFEAD60E-C7F8-44B7-9F7F-2F5C60C1EEDE}"/>
            </ac:picMkLst>
          </pc:picChg>
          <pc:cxnChg chg="mod">
            <ac:chgData name="Wise, Dana" userId="70e63ec6-51c5-46c7-b387-d3a85e40febb" providerId="ADAL" clId="{5F6AF4D4-9E70-48DC-AFAE-5B0BFBB50D61}" dt="2023-08-07T19:56:41.541" v="0"/>
            <ac:cxnSpMkLst>
              <pc:docMk/>
              <pc:sldMasterMk cId="2530762699" sldId="2147483701"/>
              <pc:sldLayoutMk cId="3942115429" sldId="2147483706"/>
              <ac:cxnSpMk id="20" creationId="{A3915361-5642-4322-BC15-F7605F237553}"/>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280987637" sldId="2147483707"/>
          </pc:sldLayoutMkLst>
          <pc:spChg chg="mod">
            <ac:chgData name="Wise, Dana" userId="70e63ec6-51c5-46c7-b387-d3a85e40febb" providerId="ADAL" clId="{5F6AF4D4-9E70-48DC-AFAE-5B0BFBB50D61}" dt="2023-08-07T19:56:41.541" v="0"/>
            <ac:spMkLst>
              <pc:docMk/>
              <pc:sldMasterMk cId="2530762699" sldId="2147483701"/>
              <pc:sldLayoutMk cId="280987637" sldId="2147483707"/>
              <ac:spMk id="6" creationId="{27411022-70AA-4249-87BE-62B1FB1E0B6C}"/>
            </ac:spMkLst>
          </pc:spChg>
          <pc:spChg chg="mod">
            <ac:chgData name="Wise, Dana" userId="70e63ec6-51c5-46c7-b387-d3a85e40febb" providerId="ADAL" clId="{5F6AF4D4-9E70-48DC-AFAE-5B0BFBB50D61}" dt="2023-08-07T19:56:41.541" v="0"/>
            <ac:spMkLst>
              <pc:docMk/>
              <pc:sldMasterMk cId="2530762699" sldId="2147483701"/>
              <pc:sldLayoutMk cId="280987637" sldId="2147483707"/>
              <ac:spMk id="7" creationId="{F97A209C-879B-4793-A1F6-391624282FE2}"/>
            </ac:spMkLst>
          </pc:spChg>
          <pc:spChg chg="mod">
            <ac:chgData name="Wise, Dana" userId="70e63ec6-51c5-46c7-b387-d3a85e40febb" providerId="ADAL" clId="{5F6AF4D4-9E70-48DC-AFAE-5B0BFBB50D61}" dt="2023-08-07T19:56:41.541" v="0"/>
            <ac:spMkLst>
              <pc:docMk/>
              <pc:sldMasterMk cId="2530762699" sldId="2147483701"/>
              <pc:sldLayoutMk cId="280987637" sldId="2147483707"/>
              <ac:spMk id="15" creationId="{7A47CEBF-087B-D242-8BA7-ECC91B1B9BFC}"/>
            </ac:spMkLst>
          </pc:spChg>
          <pc:graphicFrameChg chg="mod">
            <ac:chgData name="Wise, Dana" userId="70e63ec6-51c5-46c7-b387-d3a85e40febb" providerId="ADAL" clId="{5F6AF4D4-9E70-48DC-AFAE-5B0BFBB50D61}" dt="2023-08-07T19:56:41.541" v="0"/>
            <ac:graphicFrameMkLst>
              <pc:docMk/>
              <pc:sldMasterMk cId="2530762699" sldId="2147483701"/>
              <pc:sldLayoutMk cId="280987637" sldId="2147483707"/>
              <ac:graphicFrameMk id="3" creationId="{6CE2C6FC-BB48-410C-A194-ED23F7DE1024}"/>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2061847967" sldId="2147483709"/>
          </pc:sldLayoutMkLst>
          <pc:spChg chg="mod">
            <ac:chgData name="Wise, Dana" userId="70e63ec6-51c5-46c7-b387-d3a85e40febb" providerId="ADAL" clId="{5F6AF4D4-9E70-48DC-AFAE-5B0BFBB50D61}" dt="2023-08-07T19:56:41.541" v="0"/>
            <ac:spMkLst>
              <pc:docMk/>
              <pc:sldMasterMk cId="2530762699" sldId="2147483701"/>
              <pc:sldLayoutMk cId="2061847967" sldId="2147483709"/>
              <ac:spMk id="5" creationId="{0DB130FC-0902-442F-B27E-E0E0C3A9D4E8}"/>
            </ac:spMkLst>
          </pc:spChg>
          <pc:spChg chg="mod">
            <ac:chgData name="Wise, Dana" userId="70e63ec6-51c5-46c7-b387-d3a85e40febb" providerId="ADAL" clId="{5F6AF4D4-9E70-48DC-AFAE-5B0BFBB50D61}" dt="2023-08-07T19:56:41.541" v="0"/>
            <ac:spMkLst>
              <pc:docMk/>
              <pc:sldMasterMk cId="2530762699" sldId="2147483701"/>
              <pc:sldLayoutMk cId="2061847967" sldId="2147483709"/>
              <ac:spMk id="15" creationId="{7A47CEBF-087B-D242-8BA7-ECC91B1B9BFC}"/>
            </ac:spMkLst>
          </pc:spChg>
          <pc:graphicFrameChg chg="mod">
            <ac:chgData name="Wise, Dana" userId="70e63ec6-51c5-46c7-b387-d3a85e40febb" providerId="ADAL" clId="{5F6AF4D4-9E70-48DC-AFAE-5B0BFBB50D61}" dt="2023-08-07T19:56:41.541" v="0"/>
            <ac:graphicFrameMkLst>
              <pc:docMk/>
              <pc:sldMasterMk cId="2530762699" sldId="2147483701"/>
              <pc:sldLayoutMk cId="2061847967" sldId="2147483709"/>
              <ac:graphicFrameMk id="3" creationId="{BC4EB0B0-4B5A-4A01-B39D-054EF901C691}"/>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1541357878" sldId="2147483718"/>
          </pc:sldLayoutMkLst>
          <pc:spChg chg="mod">
            <ac:chgData name="Wise, Dana" userId="70e63ec6-51c5-46c7-b387-d3a85e40febb" providerId="ADAL" clId="{5F6AF4D4-9E70-48DC-AFAE-5B0BFBB50D61}" dt="2023-08-07T19:56:41.541" v="0"/>
            <ac:spMkLst>
              <pc:docMk/>
              <pc:sldMasterMk cId="2530762699" sldId="2147483701"/>
              <pc:sldLayoutMk cId="1541357878" sldId="2147483718"/>
              <ac:spMk id="3" creationId="{D7380EFA-D767-4D4D-9B5D-AEA78FF9A5EA}"/>
            </ac:spMkLst>
          </pc:spChg>
        </pc:sldLayoutChg>
        <pc:sldLayoutChg chg="modSp">
          <pc:chgData name="Wise, Dana" userId="70e63ec6-51c5-46c7-b387-d3a85e40febb" providerId="ADAL" clId="{5F6AF4D4-9E70-48DC-AFAE-5B0BFBB50D61}" dt="2023-08-07T19:56:41.541" v="0"/>
          <pc:sldLayoutMkLst>
            <pc:docMk/>
            <pc:sldMasterMk cId="2530762699" sldId="2147483701"/>
            <pc:sldLayoutMk cId="3483358636" sldId="2147483719"/>
          </pc:sldLayoutMkLst>
          <pc:spChg chg="mod">
            <ac:chgData name="Wise, Dana" userId="70e63ec6-51c5-46c7-b387-d3a85e40febb" providerId="ADAL" clId="{5F6AF4D4-9E70-48DC-AFAE-5B0BFBB50D61}" dt="2023-08-07T19:56:41.541" v="0"/>
            <ac:spMkLst>
              <pc:docMk/>
              <pc:sldMasterMk cId="2530762699" sldId="2147483701"/>
              <pc:sldLayoutMk cId="3483358636" sldId="2147483719"/>
              <ac:spMk id="5" creationId="{9C491C27-2F53-EE42-B78B-37814FC58266}"/>
            </ac:spMkLst>
          </pc:spChg>
          <pc:spChg chg="mod">
            <ac:chgData name="Wise, Dana" userId="70e63ec6-51c5-46c7-b387-d3a85e40febb" providerId="ADAL" clId="{5F6AF4D4-9E70-48DC-AFAE-5B0BFBB50D61}" dt="2023-08-07T19:56:41.541" v="0"/>
            <ac:spMkLst>
              <pc:docMk/>
              <pc:sldMasterMk cId="2530762699" sldId="2147483701"/>
              <pc:sldLayoutMk cId="3483358636" sldId="2147483719"/>
              <ac:spMk id="6" creationId="{C7D34AEA-C535-3C48-B0FB-9E5740413B71}"/>
            </ac:spMkLst>
          </pc:spChg>
          <pc:spChg chg="mod">
            <ac:chgData name="Wise, Dana" userId="70e63ec6-51c5-46c7-b387-d3a85e40febb" providerId="ADAL" clId="{5F6AF4D4-9E70-48DC-AFAE-5B0BFBB50D61}" dt="2023-08-07T19:56:41.541" v="0"/>
            <ac:spMkLst>
              <pc:docMk/>
              <pc:sldMasterMk cId="2530762699" sldId="2147483701"/>
              <pc:sldLayoutMk cId="3483358636" sldId="2147483719"/>
              <ac:spMk id="9" creationId="{E76B23BA-D9E1-4CB2-8266-2AA5B300D4B7}"/>
            </ac:spMkLst>
          </pc:spChg>
          <pc:spChg chg="mod">
            <ac:chgData name="Wise, Dana" userId="70e63ec6-51c5-46c7-b387-d3a85e40febb" providerId="ADAL" clId="{5F6AF4D4-9E70-48DC-AFAE-5B0BFBB50D61}" dt="2023-08-07T19:56:41.541" v="0"/>
            <ac:spMkLst>
              <pc:docMk/>
              <pc:sldMasterMk cId="2530762699" sldId="2147483701"/>
              <pc:sldLayoutMk cId="3483358636" sldId="2147483719"/>
              <ac:spMk id="21" creationId="{B63FB4CB-CF24-374A-A9FB-91654E210479}"/>
            </ac:spMkLst>
          </pc:spChg>
          <pc:spChg chg="mod">
            <ac:chgData name="Wise, Dana" userId="70e63ec6-51c5-46c7-b387-d3a85e40febb" providerId="ADAL" clId="{5F6AF4D4-9E70-48DC-AFAE-5B0BFBB50D61}" dt="2023-08-07T19:56:41.541" v="0"/>
            <ac:spMkLst>
              <pc:docMk/>
              <pc:sldMasterMk cId="2530762699" sldId="2147483701"/>
              <pc:sldLayoutMk cId="3483358636" sldId="2147483719"/>
              <ac:spMk id="25" creationId="{FC69C6DC-6153-4195-B4E8-81A149B73738}"/>
            </ac:spMkLst>
          </pc:spChg>
          <pc:spChg chg="mod">
            <ac:chgData name="Wise, Dana" userId="70e63ec6-51c5-46c7-b387-d3a85e40febb" providerId="ADAL" clId="{5F6AF4D4-9E70-48DC-AFAE-5B0BFBB50D61}" dt="2023-08-07T19:56:41.541" v="0"/>
            <ac:spMkLst>
              <pc:docMk/>
              <pc:sldMasterMk cId="2530762699" sldId="2147483701"/>
              <pc:sldLayoutMk cId="3483358636" sldId="2147483719"/>
              <ac:spMk id="26" creationId="{BA675432-1578-4F06-A50A-43FE8D5E6576}"/>
            </ac:spMkLst>
          </pc:spChg>
          <pc:graphicFrameChg chg="mod">
            <ac:chgData name="Wise, Dana" userId="70e63ec6-51c5-46c7-b387-d3a85e40febb" providerId="ADAL" clId="{5F6AF4D4-9E70-48DC-AFAE-5B0BFBB50D61}" dt="2023-08-07T19:56:41.541" v="0"/>
            <ac:graphicFrameMkLst>
              <pc:docMk/>
              <pc:sldMasterMk cId="2530762699" sldId="2147483701"/>
              <pc:sldLayoutMk cId="3483358636" sldId="2147483719"/>
              <ac:graphicFrameMk id="3" creationId="{F02F7E14-F9CD-4D03-B41A-33F3FEAD42A4}"/>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2121320908" sldId="2147483725"/>
          </pc:sldLayoutMkLst>
          <pc:spChg chg="mod">
            <ac:chgData name="Wise, Dana" userId="70e63ec6-51c5-46c7-b387-d3a85e40febb" providerId="ADAL" clId="{5F6AF4D4-9E70-48DC-AFAE-5B0BFBB50D61}" dt="2023-08-07T19:56:41.541" v="0"/>
            <ac:spMkLst>
              <pc:docMk/>
              <pc:sldMasterMk cId="2530762699" sldId="2147483701"/>
              <pc:sldLayoutMk cId="2121320908" sldId="2147483725"/>
              <ac:spMk id="23" creationId="{48751137-A964-4A57-9A4A-680957F991D0}"/>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24" creationId="{E67B8A56-E4BB-41C5-971B-EA9557624D5F}"/>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25" creationId="{64B92207-A3E0-4D30-B754-7BD03F890EA2}"/>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36" creationId="{052774F6-69CD-4B05-9AA2-D50CCFE57E31}"/>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37" creationId="{291E0F9B-17A1-4742-BBEA-18FD4100958D}"/>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38" creationId="{CDA47430-F8D5-4F07-A45B-86AEC1038F35}"/>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40" creationId="{A0A362C1-BDFF-4C59-B0A4-A0DC17BEF7E4}"/>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41" creationId="{F1FA932B-1BFD-44EB-99B4-5A9C1DB140C6}"/>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45" creationId="{9DF5748C-833B-4C7D-A7FD-C83C6CBED9B5}"/>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46" creationId="{32BF3A96-C10D-481B-B7D7-7378A143A024}"/>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49" creationId="{A6F43AF7-9766-4038-BF82-554F2B07497D}"/>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50" creationId="{C21CD03D-DAF3-4B68-9DAA-9279D235C59F}"/>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59" creationId="{973B15DC-252E-4A5A-BF03-D27EDB410F40}"/>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61" creationId="{DEC8FF88-B71B-41B5-AC00-168A2E5166CE}"/>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62" creationId="{7D216F02-569A-49FD-9C4D-7D73017830D3}"/>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63" creationId="{F1E28928-A85C-4454-8E07-56AD06E6BACF}"/>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79" creationId="{9F6E2181-ED29-490C-AB34-125262619C19}"/>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1" creationId="{30ED4439-13DE-479E-A463-246F49A524CB}"/>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2" creationId="{6375DF85-9F61-4788-9BED-D3DBE454A64F}"/>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3" creationId="{EEDAD94D-E1FB-4D24-A8B3-449950C2AEDD}"/>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4" creationId="{728B71F6-9F1B-41DB-8D19-B0731D26E2C2}"/>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5" creationId="{667487F2-4941-46C6-9FB0-2C531469B34C}"/>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8" creationId="{4B818BFA-42E5-4866-B523-39CFE9BB711E}"/>
            </ac:spMkLst>
          </pc:spChg>
          <pc:spChg chg="mod">
            <ac:chgData name="Wise, Dana" userId="70e63ec6-51c5-46c7-b387-d3a85e40febb" providerId="ADAL" clId="{5F6AF4D4-9E70-48DC-AFAE-5B0BFBB50D61}" dt="2023-08-07T19:56:41.541" v="0"/>
            <ac:spMkLst>
              <pc:docMk/>
              <pc:sldMasterMk cId="2530762699" sldId="2147483701"/>
              <pc:sldLayoutMk cId="2121320908" sldId="2147483725"/>
              <ac:spMk id="89" creationId="{16783C8E-525C-4200-BC40-71437B30C9DF}"/>
            </ac:spMkLst>
          </pc:spChg>
          <pc:graphicFrameChg chg="mod">
            <ac:chgData name="Wise, Dana" userId="70e63ec6-51c5-46c7-b387-d3a85e40febb" providerId="ADAL" clId="{5F6AF4D4-9E70-48DC-AFAE-5B0BFBB50D61}" dt="2023-08-07T19:56:41.541" v="0"/>
            <ac:graphicFrameMkLst>
              <pc:docMk/>
              <pc:sldMasterMk cId="2530762699" sldId="2147483701"/>
              <pc:sldLayoutMk cId="2121320908" sldId="2147483725"/>
              <ac:graphicFrameMk id="3" creationId="{25132DD1-6B33-4309-82A8-752481CA67B1}"/>
            </ac:graphicFrameMkLst>
          </pc:graphicFrame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7" creationId="{04240752-EDEA-41D7-89DB-252A470E04F4}"/>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39" creationId="{8DB510F7-909D-4B7F-B125-397D738514D0}"/>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42" creationId="{89998861-0A5F-4954-B8BE-DF0F6A1F4250}"/>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44" creationId="{F0F6F3D3-1D9F-4009-91D2-AD6A281F1E70}"/>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70" creationId="{4DF4BA91-A2A2-4736-95CB-1BD645CC23F2}"/>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72" creationId="{48E157A5-F1FB-4A99-9B17-594E2875C801}"/>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76" creationId="{BA69A6C8-BBBA-4A5A-BD8E-4F2863C7A10B}"/>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78" creationId="{E6D2E2D0-8215-46A3-AD69-C5AFAEF00569}"/>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80" creationId="{BDB5D549-495F-4858-B322-93010E4861D7}"/>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86" creationId="{49A90B50-AEC3-4FC8-980D-AF91F3CBB90E}"/>
            </ac:cxnSpMkLst>
          </pc:cxnChg>
          <pc:cxnChg chg="mod">
            <ac:chgData name="Wise, Dana" userId="70e63ec6-51c5-46c7-b387-d3a85e40febb" providerId="ADAL" clId="{5F6AF4D4-9E70-48DC-AFAE-5B0BFBB50D61}" dt="2023-08-07T19:56:41.541" v="0"/>
            <ac:cxnSpMkLst>
              <pc:docMk/>
              <pc:sldMasterMk cId="2530762699" sldId="2147483701"/>
              <pc:sldLayoutMk cId="2121320908" sldId="2147483725"/>
              <ac:cxnSpMk id="87" creationId="{56006CEA-F0ED-4ED3-BF84-B157B5ADB00A}"/>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2215899797" sldId="2147483731"/>
          </pc:sldLayoutMkLst>
          <pc:spChg chg="mod">
            <ac:chgData name="Wise, Dana" userId="70e63ec6-51c5-46c7-b387-d3a85e40febb" providerId="ADAL" clId="{5F6AF4D4-9E70-48DC-AFAE-5B0BFBB50D61}" dt="2023-08-07T19:56:41.541" v="0"/>
            <ac:spMkLst>
              <pc:docMk/>
              <pc:sldMasterMk cId="2530762699" sldId="2147483701"/>
              <pc:sldLayoutMk cId="2215899797" sldId="2147483731"/>
              <ac:spMk id="3" creationId="{55A0A69D-9160-5E4B-A5D8-01020EE0E919}"/>
            </ac:spMkLst>
          </pc:spChg>
          <pc:spChg chg="mod">
            <ac:chgData name="Wise, Dana" userId="70e63ec6-51c5-46c7-b387-d3a85e40febb" providerId="ADAL" clId="{5F6AF4D4-9E70-48DC-AFAE-5B0BFBB50D61}" dt="2023-08-07T19:56:41.541" v="0"/>
            <ac:spMkLst>
              <pc:docMk/>
              <pc:sldMasterMk cId="2530762699" sldId="2147483701"/>
              <pc:sldLayoutMk cId="2215899797" sldId="2147483731"/>
              <ac:spMk id="4" creationId="{FAD78420-F087-474C-9203-5D73EC4C8718}"/>
            </ac:spMkLst>
          </pc:spChg>
          <pc:spChg chg="mod">
            <ac:chgData name="Wise, Dana" userId="70e63ec6-51c5-46c7-b387-d3a85e40febb" providerId="ADAL" clId="{5F6AF4D4-9E70-48DC-AFAE-5B0BFBB50D61}" dt="2023-08-07T19:56:41.541" v="0"/>
            <ac:spMkLst>
              <pc:docMk/>
              <pc:sldMasterMk cId="2530762699" sldId="2147483701"/>
              <pc:sldLayoutMk cId="2215899797" sldId="2147483731"/>
              <ac:spMk id="5" creationId="{A16B0335-55AA-A44C-9C89-813457DB99BE}"/>
            </ac:spMkLst>
          </pc:spChg>
          <pc:spChg chg="mod">
            <ac:chgData name="Wise, Dana" userId="70e63ec6-51c5-46c7-b387-d3a85e40febb" providerId="ADAL" clId="{5F6AF4D4-9E70-48DC-AFAE-5B0BFBB50D61}" dt="2023-08-07T19:56:41.541" v="0"/>
            <ac:spMkLst>
              <pc:docMk/>
              <pc:sldMasterMk cId="2530762699" sldId="2147483701"/>
              <pc:sldLayoutMk cId="2215899797" sldId="2147483731"/>
              <ac:spMk id="6" creationId="{6C829D9C-64D8-3841-9C54-079F29D474C0}"/>
            </ac:spMkLst>
          </pc:spChg>
          <pc:spChg chg="mod">
            <ac:chgData name="Wise, Dana" userId="70e63ec6-51c5-46c7-b387-d3a85e40febb" providerId="ADAL" clId="{5F6AF4D4-9E70-48DC-AFAE-5B0BFBB50D61}" dt="2023-08-07T19:56:41.541" v="0"/>
            <ac:spMkLst>
              <pc:docMk/>
              <pc:sldMasterMk cId="2530762699" sldId="2147483701"/>
              <pc:sldLayoutMk cId="2215899797" sldId="2147483731"/>
              <ac:spMk id="9" creationId="{C9BDC5CE-E51A-4EBE-8D25-4008ABD0430D}"/>
            </ac:spMkLst>
          </pc:spChg>
          <pc:spChg chg="mod">
            <ac:chgData name="Wise, Dana" userId="70e63ec6-51c5-46c7-b387-d3a85e40febb" providerId="ADAL" clId="{5F6AF4D4-9E70-48DC-AFAE-5B0BFBB50D61}" dt="2023-08-07T19:56:41.541" v="0"/>
            <ac:spMkLst>
              <pc:docMk/>
              <pc:sldMasterMk cId="2530762699" sldId="2147483701"/>
              <pc:sldLayoutMk cId="2215899797" sldId="2147483731"/>
              <ac:spMk id="12" creationId="{16D1738A-1F8B-435C-9DC7-77F58418BD35}"/>
            </ac:spMkLst>
          </pc:spChg>
          <pc:graphicFrameChg chg="mod">
            <ac:chgData name="Wise, Dana" userId="70e63ec6-51c5-46c7-b387-d3a85e40febb" providerId="ADAL" clId="{5F6AF4D4-9E70-48DC-AFAE-5B0BFBB50D61}" dt="2023-08-07T19:56:41.541" v="0"/>
            <ac:graphicFrameMkLst>
              <pc:docMk/>
              <pc:sldMasterMk cId="2530762699" sldId="2147483701"/>
              <pc:sldLayoutMk cId="2215899797" sldId="2147483731"/>
              <ac:graphicFrameMk id="10" creationId="{FAC184B6-8E5F-4DCD-82CC-5E3D357DA5EC}"/>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1347071860" sldId="2147483732"/>
          </pc:sldLayoutMkLst>
          <pc:spChg chg="mod">
            <ac:chgData name="Wise, Dana" userId="70e63ec6-51c5-46c7-b387-d3a85e40febb" providerId="ADAL" clId="{5F6AF4D4-9E70-48DC-AFAE-5B0BFBB50D61}" dt="2023-08-07T19:56:41.541" v="0"/>
            <ac:spMkLst>
              <pc:docMk/>
              <pc:sldMasterMk cId="2530762699" sldId="2147483701"/>
              <pc:sldLayoutMk cId="1347071860" sldId="2147483732"/>
              <ac:spMk id="2" creationId="{311DAB44-3933-4383-A7E8-C2260715D422}"/>
            </ac:spMkLst>
          </pc:spChg>
          <pc:spChg chg="mod">
            <ac:chgData name="Wise, Dana" userId="70e63ec6-51c5-46c7-b387-d3a85e40febb" providerId="ADAL" clId="{5F6AF4D4-9E70-48DC-AFAE-5B0BFBB50D61}" dt="2023-08-07T19:56:41.541" v="0"/>
            <ac:spMkLst>
              <pc:docMk/>
              <pc:sldMasterMk cId="2530762699" sldId="2147483701"/>
              <pc:sldLayoutMk cId="1347071860" sldId="2147483732"/>
              <ac:spMk id="3" creationId="{A360048B-215C-2742-B3BD-2C887A2EE11A}"/>
            </ac:spMkLst>
          </pc:spChg>
          <pc:spChg chg="mod">
            <ac:chgData name="Wise, Dana" userId="70e63ec6-51c5-46c7-b387-d3a85e40febb" providerId="ADAL" clId="{5F6AF4D4-9E70-48DC-AFAE-5B0BFBB50D61}" dt="2023-08-07T19:56:41.541" v="0"/>
            <ac:spMkLst>
              <pc:docMk/>
              <pc:sldMasterMk cId="2530762699" sldId="2147483701"/>
              <pc:sldLayoutMk cId="1347071860" sldId="2147483732"/>
              <ac:spMk id="9" creationId="{FFA6E46B-8646-4537-AA80-3EBD1F24050B}"/>
            </ac:spMkLst>
          </pc:spChg>
          <pc:spChg chg="mod">
            <ac:chgData name="Wise, Dana" userId="70e63ec6-51c5-46c7-b387-d3a85e40febb" providerId="ADAL" clId="{5F6AF4D4-9E70-48DC-AFAE-5B0BFBB50D61}" dt="2023-08-07T19:56:41.541" v="0"/>
            <ac:spMkLst>
              <pc:docMk/>
              <pc:sldMasterMk cId="2530762699" sldId="2147483701"/>
              <pc:sldLayoutMk cId="1347071860" sldId="2147483732"/>
              <ac:spMk id="12" creationId="{56771AEE-C76D-499A-99C6-64134E39A7ED}"/>
            </ac:spMkLst>
          </pc:spChg>
          <pc:spChg chg="mod">
            <ac:chgData name="Wise, Dana" userId="70e63ec6-51c5-46c7-b387-d3a85e40febb" providerId="ADAL" clId="{5F6AF4D4-9E70-48DC-AFAE-5B0BFBB50D61}" dt="2023-08-07T19:56:41.541" v="0"/>
            <ac:spMkLst>
              <pc:docMk/>
              <pc:sldMasterMk cId="2530762699" sldId="2147483701"/>
              <pc:sldLayoutMk cId="1347071860" sldId="2147483732"/>
              <ac:spMk id="15" creationId="{F523C1FB-B71D-4B41-87C5-4DE6B7000D10}"/>
            </ac:spMkLst>
          </pc:spChg>
          <pc:graphicFrameChg chg="mod">
            <ac:chgData name="Wise, Dana" userId="70e63ec6-51c5-46c7-b387-d3a85e40febb" providerId="ADAL" clId="{5F6AF4D4-9E70-48DC-AFAE-5B0BFBB50D61}" dt="2023-08-07T19:56:41.541" v="0"/>
            <ac:graphicFrameMkLst>
              <pc:docMk/>
              <pc:sldMasterMk cId="2530762699" sldId="2147483701"/>
              <pc:sldLayoutMk cId="1347071860" sldId="2147483732"/>
              <ac:graphicFrameMk id="6" creationId="{D3C39D67-BBE6-4ABD-AC6C-64B022DEB08B}"/>
            </ac:graphicFrameMkLst>
          </pc:graphicFrameChg>
          <pc:picChg chg="mod">
            <ac:chgData name="Wise, Dana" userId="70e63ec6-51c5-46c7-b387-d3a85e40febb" providerId="ADAL" clId="{5F6AF4D4-9E70-48DC-AFAE-5B0BFBB50D61}" dt="2023-08-07T19:56:41.541" v="0"/>
            <ac:picMkLst>
              <pc:docMk/>
              <pc:sldMasterMk cId="2530762699" sldId="2147483701"/>
              <pc:sldLayoutMk cId="1347071860" sldId="2147483732"/>
              <ac:picMk id="10" creationId="{4F30B730-1E97-4E57-8F15-45C9CC9F0843}"/>
            </ac:picMkLst>
          </pc:picChg>
          <pc:picChg chg="mod">
            <ac:chgData name="Wise, Dana" userId="70e63ec6-51c5-46c7-b387-d3a85e40febb" providerId="ADAL" clId="{5F6AF4D4-9E70-48DC-AFAE-5B0BFBB50D61}" dt="2023-08-07T19:56:41.541" v="0"/>
            <ac:picMkLst>
              <pc:docMk/>
              <pc:sldMasterMk cId="2530762699" sldId="2147483701"/>
              <pc:sldLayoutMk cId="1347071860" sldId="2147483732"/>
              <ac:picMk id="19" creationId="{CFC2E101-5906-4940-B834-13D693E6D40F}"/>
            </ac:picMkLst>
          </pc:picChg>
          <pc:picChg chg="mod">
            <ac:chgData name="Wise, Dana" userId="70e63ec6-51c5-46c7-b387-d3a85e40febb" providerId="ADAL" clId="{5F6AF4D4-9E70-48DC-AFAE-5B0BFBB50D61}" dt="2023-08-07T19:56:41.541" v="0"/>
            <ac:picMkLst>
              <pc:docMk/>
              <pc:sldMasterMk cId="2530762699" sldId="2147483701"/>
              <pc:sldLayoutMk cId="1347071860" sldId="2147483732"/>
              <ac:picMk id="20" creationId="{75A88843-4D60-44D8-A306-4D82449940A1}"/>
            </ac:picMkLst>
          </pc:picChg>
          <pc:picChg chg="mod">
            <ac:chgData name="Wise, Dana" userId="70e63ec6-51c5-46c7-b387-d3a85e40febb" providerId="ADAL" clId="{5F6AF4D4-9E70-48DC-AFAE-5B0BFBB50D61}" dt="2023-08-07T19:56:41.541" v="0"/>
            <ac:picMkLst>
              <pc:docMk/>
              <pc:sldMasterMk cId="2530762699" sldId="2147483701"/>
              <pc:sldLayoutMk cId="1347071860" sldId="2147483732"/>
              <ac:picMk id="23" creationId="{2E44E882-3CDB-49D4-ABEB-45ACCF62BEF9}"/>
            </ac:picMkLst>
          </pc:picChg>
          <pc:cxnChg chg="mod">
            <ac:chgData name="Wise, Dana" userId="70e63ec6-51c5-46c7-b387-d3a85e40febb" providerId="ADAL" clId="{5F6AF4D4-9E70-48DC-AFAE-5B0BFBB50D61}" dt="2023-08-07T19:56:41.541" v="0"/>
            <ac:cxnSpMkLst>
              <pc:docMk/>
              <pc:sldMasterMk cId="2530762699" sldId="2147483701"/>
              <pc:sldLayoutMk cId="1347071860" sldId="2147483732"/>
              <ac:cxnSpMk id="17" creationId="{12363DDA-A825-478D-B256-2590271C0669}"/>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1584549989" sldId="2147483741"/>
          </pc:sldLayoutMkLst>
          <pc:spChg chg="mod">
            <ac:chgData name="Wise, Dana" userId="70e63ec6-51c5-46c7-b387-d3a85e40febb" providerId="ADAL" clId="{5F6AF4D4-9E70-48DC-AFAE-5B0BFBB50D61}" dt="2023-08-07T19:56:41.541" v="0"/>
            <ac:spMkLst>
              <pc:docMk/>
              <pc:sldMasterMk cId="2530762699" sldId="2147483701"/>
              <pc:sldLayoutMk cId="1584549989" sldId="2147483741"/>
              <ac:spMk id="2" creationId="{6153A013-3B3B-4571-88FE-8D757407CC69}"/>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 creationId="{372A385F-36DD-46FB-A566-F5EABF7F0EE1}"/>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11" creationId="{8793DBAB-33E2-42FF-8425-76A9F1C1A2E7}"/>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13" creationId="{1CA6F5BF-D6F4-4749-A47E-53D716145806}"/>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15" creationId="{7A47CEBF-087B-D242-8BA7-ECC91B1B9BFC}"/>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18" creationId="{4019F31B-DDC9-4E7A-8A22-64E121314F2B}"/>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19" creationId="{91F31CCD-F890-447A-9CAD-5CC502170E1A}"/>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0" creationId="{3515EF54-6962-4147-A6E8-DD2B1E6DB412}"/>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1" creationId="{98B1EFD2-16AB-44D7-A868-706CF677CC4E}"/>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3" creationId="{4EA2D2EB-13B1-4028-AC06-B66CBA66A76B}"/>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4" creationId="{852F6261-B011-4584-B2D0-D5D35E673AD0}"/>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5" creationId="{015E4230-DA07-43A5-B327-DCC0FA46F099}"/>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6" creationId="{AAE48A92-74AE-4DC9-9674-B700DC5BA983}"/>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7" creationId="{E6DF2025-16B1-4CBD-9B88-2EFC9132F245}"/>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8" creationId="{93D22604-93BB-4B3B-A1D3-1797F1EF46EE}"/>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29" creationId="{BB9A3566-3339-47CB-AC83-7210A147E4E2}"/>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1" creationId="{C78F39C0-859E-4629-AA42-567829112258}"/>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2" creationId="{C95D5E78-F72C-4BDD-A3A9-3E7813D191A2}"/>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3" creationId="{87628E13-A876-461E-BFD7-30D3AE5D6F82}"/>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4" creationId="{369665F1-D8A9-476E-8F35-A25F1163EAA5}"/>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6" creationId="{4C018436-5F86-4927-B055-EACE768BAB44}"/>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8" creationId="{0AF54769-E8ED-4900-8C03-EE2395944D08}"/>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39" creationId="{BFB8D7ED-2BFD-4101-96F8-454008C72B47}"/>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0" creationId="{F495BDE8-4489-4FD6-B837-02AC7ADB5639}"/>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1" creationId="{D92230F1-F0E1-4B19-ADDC-337E92B1209B}"/>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2" creationId="{CB4A7CD7-FD5B-430D-8C6C-306E62A28793}"/>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3" creationId="{3FD0965D-2713-4818-A5C9-FFF806699494}"/>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4" creationId="{BC28D25B-484C-4B25-B588-55AABCF83077}"/>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5" creationId="{BF8E214B-511E-49F4-ABBE-332FB17ED4A1}"/>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6" creationId="{5A10E9C0-414C-469A-A1E2-90DFE2AD980E}"/>
            </ac:spMkLst>
          </pc:spChg>
          <pc:spChg chg="mod">
            <ac:chgData name="Wise, Dana" userId="70e63ec6-51c5-46c7-b387-d3a85e40febb" providerId="ADAL" clId="{5F6AF4D4-9E70-48DC-AFAE-5B0BFBB50D61}" dt="2023-08-07T19:56:41.541" v="0"/>
            <ac:spMkLst>
              <pc:docMk/>
              <pc:sldMasterMk cId="2530762699" sldId="2147483701"/>
              <pc:sldLayoutMk cId="1584549989" sldId="2147483741"/>
              <ac:spMk id="48" creationId="{5C95BC02-9AB6-44DF-8245-7AB48D01CF8C}"/>
            </ac:spMkLst>
          </pc:spChg>
          <pc:graphicFrameChg chg="mod">
            <ac:chgData name="Wise, Dana" userId="70e63ec6-51c5-46c7-b387-d3a85e40febb" providerId="ADAL" clId="{5F6AF4D4-9E70-48DC-AFAE-5B0BFBB50D61}" dt="2023-08-07T19:56:41.541" v="0"/>
            <ac:graphicFrameMkLst>
              <pc:docMk/>
              <pc:sldMasterMk cId="2530762699" sldId="2147483701"/>
              <pc:sldLayoutMk cId="1584549989" sldId="2147483741"/>
              <ac:graphicFrameMk id="3" creationId="{6CE2C6FC-BB48-410C-A194-ED23F7DE1024}"/>
            </ac:graphicFrameMkLst>
          </pc:graphicFrameChg>
          <pc:graphicFrameChg chg="mod">
            <ac:chgData name="Wise, Dana" userId="70e63ec6-51c5-46c7-b387-d3a85e40febb" providerId="ADAL" clId="{5F6AF4D4-9E70-48DC-AFAE-5B0BFBB50D61}" dt="2023-08-07T19:56:41.541" v="0"/>
            <ac:graphicFrameMkLst>
              <pc:docMk/>
              <pc:sldMasterMk cId="2530762699" sldId="2147483701"/>
              <pc:sldLayoutMk cId="1584549989" sldId="2147483741"/>
              <ac:graphicFrameMk id="35" creationId="{72879B0A-F99E-40E5-B700-799F77DD6828}"/>
            </ac:graphicFrameMkLst>
          </pc:graphicFrameChg>
          <pc:graphicFrameChg chg="mod">
            <ac:chgData name="Wise, Dana" userId="70e63ec6-51c5-46c7-b387-d3a85e40febb" providerId="ADAL" clId="{5F6AF4D4-9E70-48DC-AFAE-5B0BFBB50D61}" dt="2023-08-07T19:56:41.541" v="0"/>
            <ac:graphicFrameMkLst>
              <pc:docMk/>
              <pc:sldMasterMk cId="2530762699" sldId="2147483701"/>
              <pc:sldLayoutMk cId="1584549989" sldId="2147483741"/>
              <ac:graphicFrameMk id="37" creationId="{DE492359-65CB-4881-A29A-BAA4AE3DD16F}"/>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2281237249" sldId="2147483742"/>
          </pc:sldLayoutMkLst>
          <pc:spChg chg="mod">
            <ac:chgData name="Wise, Dana" userId="70e63ec6-51c5-46c7-b387-d3a85e40febb" providerId="ADAL" clId="{5F6AF4D4-9E70-48DC-AFAE-5B0BFBB50D61}" dt="2023-08-07T19:56:41.541" v="0"/>
            <ac:spMkLst>
              <pc:docMk/>
              <pc:sldMasterMk cId="2530762699" sldId="2147483701"/>
              <pc:sldLayoutMk cId="2281237249" sldId="2147483742"/>
              <ac:spMk id="7" creationId="{E6AB2AEA-A29E-4142-80F2-FE4929AC6C85}"/>
            </ac:spMkLst>
          </pc:spChg>
          <pc:spChg chg="mod">
            <ac:chgData name="Wise, Dana" userId="70e63ec6-51c5-46c7-b387-d3a85e40febb" providerId="ADAL" clId="{5F6AF4D4-9E70-48DC-AFAE-5B0BFBB50D61}" dt="2023-08-07T19:56:41.541" v="0"/>
            <ac:spMkLst>
              <pc:docMk/>
              <pc:sldMasterMk cId="2530762699" sldId="2147483701"/>
              <pc:sldLayoutMk cId="2281237249" sldId="2147483742"/>
              <ac:spMk id="8" creationId="{DC7805AE-83AC-40B4-88BE-27938D6B0A14}"/>
            </ac:spMkLst>
          </pc:spChg>
          <pc:spChg chg="mod">
            <ac:chgData name="Wise, Dana" userId="70e63ec6-51c5-46c7-b387-d3a85e40febb" providerId="ADAL" clId="{5F6AF4D4-9E70-48DC-AFAE-5B0BFBB50D61}" dt="2023-08-07T19:56:41.541" v="0"/>
            <ac:spMkLst>
              <pc:docMk/>
              <pc:sldMasterMk cId="2530762699" sldId="2147483701"/>
              <pc:sldLayoutMk cId="2281237249" sldId="2147483742"/>
              <ac:spMk id="15" creationId="{7A47CEBF-087B-D242-8BA7-ECC91B1B9BFC}"/>
            </ac:spMkLst>
          </pc:spChg>
          <pc:spChg chg="mod">
            <ac:chgData name="Wise, Dana" userId="70e63ec6-51c5-46c7-b387-d3a85e40febb" providerId="ADAL" clId="{5F6AF4D4-9E70-48DC-AFAE-5B0BFBB50D61}" dt="2023-08-07T19:56:41.541" v="0"/>
            <ac:spMkLst>
              <pc:docMk/>
              <pc:sldMasterMk cId="2530762699" sldId="2147483701"/>
              <pc:sldLayoutMk cId="2281237249" sldId="2147483742"/>
              <ac:spMk id="16" creationId="{74BA8965-8D92-47B8-BE22-6129AE55D866}"/>
            </ac:spMkLst>
          </pc:spChg>
          <pc:graphicFrameChg chg="mod">
            <ac:chgData name="Wise, Dana" userId="70e63ec6-51c5-46c7-b387-d3a85e40febb" providerId="ADAL" clId="{5F6AF4D4-9E70-48DC-AFAE-5B0BFBB50D61}" dt="2023-08-07T19:56:41.541" v="0"/>
            <ac:graphicFrameMkLst>
              <pc:docMk/>
              <pc:sldMasterMk cId="2530762699" sldId="2147483701"/>
              <pc:sldLayoutMk cId="2281237249" sldId="2147483742"/>
              <ac:graphicFrameMk id="3" creationId="{6CE2C6FC-BB48-410C-A194-ED23F7DE1024}"/>
            </ac:graphicFrameMkLst>
          </pc:graphicFrameChg>
        </pc:sldLayoutChg>
        <pc:sldLayoutChg chg="modSp">
          <pc:chgData name="Wise, Dana" userId="70e63ec6-51c5-46c7-b387-d3a85e40febb" providerId="ADAL" clId="{5F6AF4D4-9E70-48DC-AFAE-5B0BFBB50D61}" dt="2023-08-07T19:56:41.541" v="0"/>
          <pc:sldLayoutMkLst>
            <pc:docMk/>
            <pc:sldMasterMk cId="2530762699" sldId="2147483701"/>
            <pc:sldLayoutMk cId="2013190774" sldId="2147483743"/>
          </pc:sldLayoutMkLst>
          <pc:spChg chg="mod">
            <ac:chgData name="Wise, Dana" userId="70e63ec6-51c5-46c7-b387-d3a85e40febb" providerId="ADAL" clId="{5F6AF4D4-9E70-48DC-AFAE-5B0BFBB50D61}" dt="2023-08-07T19:56:41.541" v="0"/>
            <ac:spMkLst>
              <pc:docMk/>
              <pc:sldMasterMk cId="2530762699" sldId="2147483701"/>
              <pc:sldLayoutMk cId="2013190774" sldId="2147483743"/>
              <ac:spMk id="2" creationId="{F897CFAE-2D54-B14C-93BA-05695BD7EA7B}"/>
            </ac:spMkLst>
          </pc:spChg>
          <pc:spChg chg="mod">
            <ac:chgData name="Wise, Dana" userId="70e63ec6-51c5-46c7-b387-d3a85e40febb" providerId="ADAL" clId="{5F6AF4D4-9E70-48DC-AFAE-5B0BFBB50D61}" dt="2023-08-07T19:56:41.541" v="0"/>
            <ac:spMkLst>
              <pc:docMk/>
              <pc:sldMasterMk cId="2530762699" sldId="2147483701"/>
              <pc:sldLayoutMk cId="2013190774" sldId="2147483743"/>
              <ac:spMk id="14" creationId="{6829CE93-B435-45A5-8F92-72FDBAABB912}"/>
            </ac:spMkLst>
          </pc:spChg>
          <pc:spChg chg="mod">
            <ac:chgData name="Wise, Dana" userId="70e63ec6-51c5-46c7-b387-d3a85e40febb" providerId="ADAL" clId="{5F6AF4D4-9E70-48DC-AFAE-5B0BFBB50D61}" dt="2023-08-07T19:56:41.541" v="0"/>
            <ac:spMkLst>
              <pc:docMk/>
              <pc:sldMasterMk cId="2530762699" sldId="2147483701"/>
              <pc:sldLayoutMk cId="2013190774" sldId="2147483743"/>
              <ac:spMk id="15" creationId="{AB7840D2-155F-43AA-86BE-2EA8A0E38576}"/>
            </ac:spMkLst>
          </pc:spChg>
          <pc:spChg chg="mod">
            <ac:chgData name="Wise, Dana" userId="70e63ec6-51c5-46c7-b387-d3a85e40febb" providerId="ADAL" clId="{5F6AF4D4-9E70-48DC-AFAE-5B0BFBB50D61}" dt="2023-08-07T19:56:41.541" v="0"/>
            <ac:spMkLst>
              <pc:docMk/>
              <pc:sldMasterMk cId="2530762699" sldId="2147483701"/>
              <pc:sldLayoutMk cId="2013190774" sldId="2147483743"/>
              <ac:spMk id="21" creationId="{F2BB7CB8-2335-4A07-90B8-76DE4E6C370A}"/>
            </ac:spMkLst>
          </pc:spChg>
          <pc:graphicFrameChg chg="mod">
            <ac:chgData name="Wise, Dana" userId="70e63ec6-51c5-46c7-b387-d3a85e40febb" providerId="ADAL" clId="{5F6AF4D4-9E70-48DC-AFAE-5B0BFBB50D61}" dt="2023-08-07T19:56:41.541" v="0"/>
            <ac:graphicFrameMkLst>
              <pc:docMk/>
              <pc:sldMasterMk cId="2530762699" sldId="2147483701"/>
              <pc:sldLayoutMk cId="2013190774" sldId="2147483743"/>
              <ac:graphicFrameMk id="5" creationId="{99B10529-FBDC-4621-8DD5-517C7CBDCB80}"/>
            </ac:graphicFrameMkLst>
          </pc:graphicFrameChg>
          <pc:picChg chg="mod">
            <ac:chgData name="Wise, Dana" userId="70e63ec6-51c5-46c7-b387-d3a85e40febb" providerId="ADAL" clId="{5F6AF4D4-9E70-48DC-AFAE-5B0BFBB50D61}" dt="2023-08-07T19:56:41.541" v="0"/>
            <ac:picMkLst>
              <pc:docMk/>
              <pc:sldMasterMk cId="2530762699" sldId="2147483701"/>
              <pc:sldLayoutMk cId="2013190774" sldId="2147483743"/>
              <ac:picMk id="12" creationId="{BEFB49D2-B17C-4BA4-9394-EE5B2E0F7518}"/>
            </ac:picMkLst>
          </pc:picChg>
          <pc:picChg chg="mod">
            <ac:chgData name="Wise, Dana" userId="70e63ec6-51c5-46c7-b387-d3a85e40febb" providerId="ADAL" clId="{5F6AF4D4-9E70-48DC-AFAE-5B0BFBB50D61}" dt="2023-08-07T19:56:41.541" v="0"/>
            <ac:picMkLst>
              <pc:docMk/>
              <pc:sldMasterMk cId="2530762699" sldId="2147483701"/>
              <pc:sldLayoutMk cId="2013190774" sldId="2147483743"/>
              <ac:picMk id="17" creationId="{F4E19D00-2EF6-4864-8BE3-938B83205707}"/>
            </ac:picMkLst>
          </pc:picChg>
          <pc:picChg chg="mod">
            <ac:chgData name="Wise, Dana" userId="70e63ec6-51c5-46c7-b387-d3a85e40febb" providerId="ADAL" clId="{5F6AF4D4-9E70-48DC-AFAE-5B0BFBB50D61}" dt="2023-08-07T19:56:41.541" v="0"/>
            <ac:picMkLst>
              <pc:docMk/>
              <pc:sldMasterMk cId="2530762699" sldId="2147483701"/>
              <pc:sldLayoutMk cId="2013190774" sldId="2147483743"/>
              <ac:picMk id="19" creationId="{AFEAD60E-C7F8-44B7-9F7F-2F5C60C1EEDE}"/>
            </ac:picMkLst>
          </pc:picChg>
          <pc:cxnChg chg="mod">
            <ac:chgData name="Wise, Dana" userId="70e63ec6-51c5-46c7-b387-d3a85e40febb" providerId="ADAL" clId="{5F6AF4D4-9E70-48DC-AFAE-5B0BFBB50D61}" dt="2023-08-07T19:56:41.541" v="0"/>
            <ac:cxnSpMkLst>
              <pc:docMk/>
              <pc:sldMasterMk cId="2530762699" sldId="2147483701"/>
              <pc:sldLayoutMk cId="2013190774" sldId="2147483743"/>
              <ac:cxnSpMk id="16" creationId="{BA0B8490-C9AF-4BB7-980F-1E2D01EBA3B7}"/>
            </ac:cxnSpMkLst>
          </pc:cxnChg>
          <pc:cxnChg chg="mod">
            <ac:chgData name="Wise, Dana" userId="70e63ec6-51c5-46c7-b387-d3a85e40febb" providerId="ADAL" clId="{5F6AF4D4-9E70-48DC-AFAE-5B0BFBB50D61}" dt="2023-08-07T19:56:41.541" v="0"/>
            <ac:cxnSpMkLst>
              <pc:docMk/>
              <pc:sldMasterMk cId="2530762699" sldId="2147483701"/>
              <pc:sldLayoutMk cId="2013190774" sldId="2147483743"/>
              <ac:cxnSpMk id="20" creationId="{A3915361-5642-4322-BC15-F7605F237553}"/>
            </ac:cxnSpMkLst>
          </pc:cxnChg>
        </pc:sldLayoutChg>
        <pc:sldLayoutChg chg="modSp del">
          <pc:chgData name="Wise, Dana" userId="70e63ec6-51c5-46c7-b387-d3a85e40febb" providerId="ADAL" clId="{5F6AF4D4-9E70-48DC-AFAE-5B0BFBB50D61}" dt="2023-08-07T20:00:35.432" v="18" actId="2696"/>
          <pc:sldLayoutMkLst>
            <pc:docMk/>
            <pc:sldMasterMk cId="2530762699" sldId="2147483701"/>
            <pc:sldLayoutMk cId="2511355345" sldId="2147483744"/>
          </pc:sldLayoutMkLst>
          <pc:spChg chg="mod">
            <ac:chgData name="Wise, Dana" userId="70e63ec6-51c5-46c7-b387-d3a85e40febb" providerId="ADAL" clId="{5F6AF4D4-9E70-48DC-AFAE-5B0BFBB50D61}" dt="2023-08-07T19:56:41.541" v="0"/>
            <ac:spMkLst>
              <pc:docMk/>
              <pc:sldMasterMk cId="2530762699" sldId="2147483701"/>
              <pc:sldLayoutMk cId="2511355345" sldId="2147483744"/>
              <ac:spMk id="9" creationId="{C4F44CEB-5C85-435B-BC18-ED4B0620396D}"/>
            </ac:spMkLst>
          </pc:spChg>
          <pc:spChg chg="mod">
            <ac:chgData name="Wise, Dana" userId="70e63ec6-51c5-46c7-b387-d3a85e40febb" providerId="ADAL" clId="{5F6AF4D4-9E70-48DC-AFAE-5B0BFBB50D61}" dt="2023-08-07T19:56:41.541" v="0"/>
            <ac:spMkLst>
              <pc:docMk/>
              <pc:sldMasterMk cId="2530762699" sldId="2147483701"/>
              <pc:sldLayoutMk cId="2511355345" sldId="2147483744"/>
              <ac:spMk id="29" creationId="{FDA79467-0A9E-4EB9-96A2-1A12ED8B7691}"/>
            </ac:spMkLst>
          </pc:spChg>
          <pc:spChg chg="mod">
            <ac:chgData name="Wise, Dana" userId="70e63ec6-51c5-46c7-b387-d3a85e40febb" providerId="ADAL" clId="{5F6AF4D4-9E70-48DC-AFAE-5B0BFBB50D61}" dt="2023-08-07T19:56:41.541" v="0"/>
            <ac:spMkLst>
              <pc:docMk/>
              <pc:sldMasterMk cId="2530762699" sldId="2147483701"/>
              <pc:sldLayoutMk cId="2511355345" sldId="2147483744"/>
              <ac:spMk id="31" creationId="{A2F73C00-AE0D-4169-8B8D-A912A2287816}"/>
            </ac:spMkLst>
          </pc:spChg>
          <pc:graphicFrameChg chg="mod">
            <ac:chgData name="Wise, Dana" userId="70e63ec6-51c5-46c7-b387-d3a85e40febb" providerId="ADAL" clId="{5F6AF4D4-9E70-48DC-AFAE-5B0BFBB50D61}" dt="2023-08-07T19:56:41.541" v="0"/>
            <ac:graphicFrameMkLst>
              <pc:docMk/>
              <pc:sldMasterMk cId="2530762699" sldId="2147483701"/>
              <pc:sldLayoutMk cId="2511355345" sldId="2147483744"/>
              <ac:graphicFrameMk id="28" creationId="{83CCF6A5-D39D-4670-8B7D-D9FC91648006}"/>
            </ac:graphicFrameMkLst>
          </pc:graphicFrameChg>
          <pc:picChg chg="mod">
            <ac:chgData name="Wise, Dana" userId="70e63ec6-51c5-46c7-b387-d3a85e40febb" providerId="ADAL" clId="{5F6AF4D4-9E70-48DC-AFAE-5B0BFBB50D61}" dt="2023-08-07T19:56:41.541" v="0"/>
            <ac:picMkLst>
              <pc:docMk/>
              <pc:sldMasterMk cId="2530762699" sldId="2147483701"/>
              <pc:sldLayoutMk cId="2511355345" sldId="2147483744"/>
              <ac:picMk id="8" creationId="{62852160-A695-49A9-A464-AA5B9CAA88D0}"/>
            </ac:picMkLst>
          </pc:picChg>
          <pc:picChg chg="mod">
            <ac:chgData name="Wise, Dana" userId="70e63ec6-51c5-46c7-b387-d3a85e40febb" providerId="ADAL" clId="{5F6AF4D4-9E70-48DC-AFAE-5B0BFBB50D61}" dt="2023-08-07T19:56:41.541" v="0"/>
            <ac:picMkLst>
              <pc:docMk/>
              <pc:sldMasterMk cId="2530762699" sldId="2147483701"/>
              <pc:sldLayoutMk cId="2511355345" sldId="2147483744"/>
              <ac:picMk id="10" creationId="{534F96E6-8252-4A3A-931C-27ED5FD7A02E}"/>
            </ac:picMkLst>
          </pc:picChg>
          <pc:cxnChg chg="mod">
            <ac:chgData name="Wise, Dana" userId="70e63ec6-51c5-46c7-b387-d3a85e40febb" providerId="ADAL" clId="{5F6AF4D4-9E70-48DC-AFAE-5B0BFBB50D61}" dt="2023-08-07T19:56:41.541" v="0"/>
            <ac:cxnSpMkLst>
              <pc:docMk/>
              <pc:sldMasterMk cId="2530762699" sldId="2147483701"/>
              <pc:sldLayoutMk cId="2511355345" sldId="2147483744"/>
              <ac:cxnSpMk id="14" creationId="{13648BB3-A8F0-45C7-90E2-20C0F345A142}"/>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197921637" sldId="2147483745"/>
          </pc:sldLayoutMkLst>
          <pc:spChg chg="mod">
            <ac:chgData name="Wise, Dana" userId="70e63ec6-51c5-46c7-b387-d3a85e40febb" providerId="ADAL" clId="{5F6AF4D4-9E70-48DC-AFAE-5B0BFBB50D61}" dt="2023-08-07T19:56:41.541" v="0"/>
            <ac:spMkLst>
              <pc:docMk/>
              <pc:sldMasterMk cId="2530762699" sldId="2147483701"/>
              <pc:sldLayoutMk cId="197921637" sldId="2147483745"/>
              <ac:spMk id="3" creationId="{24D3A16F-CF2D-41B9-B8B2-19302DB85CE5}"/>
            </ac:spMkLst>
          </pc:spChg>
          <pc:spChg chg="mod">
            <ac:chgData name="Wise, Dana" userId="70e63ec6-51c5-46c7-b387-d3a85e40febb" providerId="ADAL" clId="{5F6AF4D4-9E70-48DC-AFAE-5B0BFBB50D61}" dt="2023-08-07T19:56:41.541" v="0"/>
            <ac:spMkLst>
              <pc:docMk/>
              <pc:sldMasterMk cId="2530762699" sldId="2147483701"/>
              <pc:sldLayoutMk cId="197921637" sldId="2147483745"/>
              <ac:spMk id="12" creationId="{3CB44BE4-315C-403E-89DC-59ED94E35F41}"/>
            </ac:spMkLst>
          </pc:spChg>
          <pc:spChg chg="mod">
            <ac:chgData name="Wise, Dana" userId="70e63ec6-51c5-46c7-b387-d3a85e40febb" providerId="ADAL" clId="{5F6AF4D4-9E70-48DC-AFAE-5B0BFBB50D61}" dt="2023-08-07T19:56:41.541" v="0"/>
            <ac:spMkLst>
              <pc:docMk/>
              <pc:sldMasterMk cId="2530762699" sldId="2147483701"/>
              <pc:sldLayoutMk cId="197921637" sldId="2147483745"/>
              <ac:spMk id="40" creationId="{0170F48A-97D8-402D-80D6-FD813F09F72F}"/>
            </ac:spMkLst>
          </pc:spChg>
          <pc:graphicFrameChg chg="mod">
            <ac:chgData name="Wise, Dana" userId="70e63ec6-51c5-46c7-b387-d3a85e40febb" providerId="ADAL" clId="{5F6AF4D4-9E70-48DC-AFAE-5B0BFBB50D61}" dt="2023-08-07T19:56:41.541" v="0"/>
            <ac:graphicFrameMkLst>
              <pc:docMk/>
              <pc:sldMasterMk cId="2530762699" sldId="2147483701"/>
              <pc:sldLayoutMk cId="197921637" sldId="2147483745"/>
              <ac:graphicFrameMk id="27" creationId="{2E2CDC08-4430-4340-B351-E835113BC202}"/>
            </ac:graphicFrameMkLst>
          </pc:graphicFrameChg>
          <pc:picChg chg="mod">
            <ac:chgData name="Wise, Dana" userId="70e63ec6-51c5-46c7-b387-d3a85e40febb" providerId="ADAL" clId="{5F6AF4D4-9E70-48DC-AFAE-5B0BFBB50D61}" dt="2023-08-07T19:56:41.541" v="0"/>
            <ac:picMkLst>
              <pc:docMk/>
              <pc:sldMasterMk cId="2530762699" sldId="2147483701"/>
              <pc:sldLayoutMk cId="197921637" sldId="2147483745"/>
              <ac:picMk id="29" creationId="{7BB7579B-44CB-4F79-A03B-A82982384F71}"/>
            </ac:picMkLst>
          </pc:picChg>
          <pc:cxnChg chg="mod">
            <ac:chgData name="Wise, Dana" userId="70e63ec6-51c5-46c7-b387-d3a85e40febb" providerId="ADAL" clId="{5F6AF4D4-9E70-48DC-AFAE-5B0BFBB50D61}" dt="2023-08-07T19:56:41.541" v="0"/>
            <ac:cxnSpMkLst>
              <pc:docMk/>
              <pc:sldMasterMk cId="2530762699" sldId="2147483701"/>
              <pc:sldLayoutMk cId="197921637" sldId="2147483745"/>
              <ac:cxnSpMk id="14" creationId="{13648BB3-A8F0-45C7-90E2-20C0F345A142}"/>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4030057181" sldId="2147483746"/>
          </pc:sldLayoutMkLst>
          <pc:spChg chg="mod">
            <ac:chgData name="Wise, Dana" userId="70e63ec6-51c5-46c7-b387-d3a85e40febb" providerId="ADAL" clId="{5F6AF4D4-9E70-48DC-AFAE-5B0BFBB50D61}" dt="2023-08-07T19:56:41.541" v="0"/>
            <ac:spMkLst>
              <pc:docMk/>
              <pc:sldMasterMk cId="2530762699" sldId="2147483701"/>
              <pc:sldLayoutMk cId="4030057181" sldId="2147483746"/>
              <ac:spMk id="17" creationId="{B23D135D-4B5B-4F66-A089-FBB24E6E6928}"/>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32" creationId="{96A18137-DC09-48E5-83F3-BDB8A8DC651C}"/>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34" creationId="{7CCF051D-2A8C-4AE0-8753-2ABC96B21F37}"/>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40" creationId="{0170F48A-97D8-402D-80D6-FD813F09F72F}"/>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46" creationId="{9970122C-C8E4-4720-A69A-0E2F32A475B3}"/>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48" creationId="{D978F47B-038C-4D2F-909F-84865B87DBF6}"/>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49" creationId="{783014AD-39D1-40FB-92B9-9AD8139F5158}"/>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66" creationId="{DE4C36A2-1234-4698-B62A-3D670FAC5B8F}"/>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67" creationId="{DA7919E0-CDAF-4C96-A481-21EDB869AC01}"/>
            </ac:spMkLst>
          </pc:spChg>
          <pc:spChg chg="mod">
            <ac:chgData name="Wise, Dana" userId="70e63ec6-51c5-46c7-b387-d3a85e40febb" providerId="ADAL" clId="{5F6AF4D4-9E70-48DC-AFAE-5B0BFBB50D61}" dt="2023-08-07T19:56:41.541" v="0"/>
            <ac:spMkLst>
              <pc:docMk/>
              <pc:sldMasterMk cId="2530762699" sldId="2147483701"/>
              <pc:sldLayoutMk cId="4030057181" sldId="2147483746"/>
              <ac:spMk id="68" creationId="{B1C85E3C-04FA-424C-98CB-D6401A4A9979}"/>
            </ac:spMkLst>
          </pc:spChg>
          <pc:graphicFrameChg chg="mod">
            <ac:chgData name="Wise, Dana" userId="70e63ec6-51c5-46c7-b387-d3a85e40febb" providerId="ADAL" clId="{5F6AF4D4-9E70-48DC-AFAE-5B0BFBB50D61}" dt="2023-08-07T19:56:41.541" v="0"/>
            <ac:graphicFrameMkLst>
              <pc:docMk/>
              <pc:sldMasterMk cId="2530762699" sldId="2147483701"/>
              <pc:sldLayoutMk cId="4030057181" sldId="2147483746"/>
              <ac:graphicFrameMk id="33" creationId="{4013CCEF-D53D-4F7F-906A-48E4D26AD87E}"/>
            </ac:graphicFrameMkLst>
          </pc:graphicFrameChg>
          <pc:picChg chg="mod">
            <ac:chgData name="Wise, Dana" userId="70e63ec6-51c5-46c7-b387-d3a85e40febb" providerId="ADAL" clId="{5F6AF4D4-9E70-48DC-AFAE-5B0BFBB50D61}" dt="2023-08-07T19:56:41.541" v="0"/>
            <ac:picMkLst>
              <pc:docMk/>
              <pc:sldMasterMk cId="2530762699" sldId="2147483701"/>
              <pc:sldLayoutMk cId="4030057181" sldId="2147483746"/>
              <ac:picMk id="15" creationId="{55109801-6542-48D8-AAC2-C3178335A8F8}"/>
            </ac:picMkLst>
          </pc:picChg>
          <pc:picChg chg="mod">
            <ac:chgData name="Wise, Dana" userId="70e63ec6-51c5-46c7-b387-d3a85e40febb" providerId="ADAL" clId="{5F6AF4D4-9E70-48DC-AFAE-5B0BFBB50D61}" dt="2023-08-07T19:56:41.541" v="0"/>
            <ac:picMkLst>
              <pc:docMk/>
              <pc:sldMasterMk cId="2530762699" sldId="2147483701"/>
              <pc:sldLayoutMk cId="4030057181" sldId="2147483746"/>
              <ac:picMk id="19" creationId="{37B7C0B6-7241-4A0D-8684-E0D37A9EA052}"/>
            </ac:picMkLst>
          </pc:picChg>
          <pc:cxnChg chg="mod">
            <ac:chgData name="Wise, Dana" userId="70e63ec6-51c5-46c7-b387-d3a85e40febb" providerId="ADAL" clId="{5F6AF4D4-9E70-48DC-AFAE-5B0BFBB50D61}" dt="2023-08-07T19:56:41.541" v="0"/>
            <ac:cxnSpMkLst>
              <pc:docMk/>
              <pc:sldMasterMk cId="2530762699" sldId="2147483701"/>
              <pc:sldLayoutMk cId="4030057181" sldId="2147483746"/>
              <ac:cxnSpMk id="14" creationId="{13648BB3-A8F0-45C7-90E2-20C0F345A142}"/>
            </ac:cxnSpMkLst>
          </pc:cxnChg>
        </pc:sldLayoutChg>
        <pc:sldLayoutChg chg="modSp">
          <pc:chgData name="Wise, Dana" userId="70e63ec6-51c5-46c7-b387-d3a85e40febb" providerId="ADAL" clId="{5F6AF4D4-9E70-48DC-AFAE-5B0BFBB50D61}" dt="2023-08-07T19:56:41.541" v="0"/>
          <pc:sldLayoutMkLst>
            <pc:docMk/>
            <pc:sldMasterMk cId="2530762699" sldId="2147483701"/>
            <pc:sldLayoutMk cId="4002375553" sldId="2147483747"/>
          </pc:sldLayoutMkLst>
          <pc:spChg chg="mod">
            <ac:chgData name="Wise, Dana" userId="70e63ec6-51c5-46c7-b387-d3a85e40febb" providerId="ADAL" clId="{5F6AF4D4-9E70-48DC-AFAE-5B0BFBB50D61}" dt="2023-08-07T19:56:41.541" v="0"/>
            <ac:spMkLst>
              <pc:docMk/>
              <pc:sldMasterMk cId="2530762699" sldId="2147483701"/>
              <pc:sldLayoutMk cId="4002375553" sldId="2147483747"/>
              <ac:spMk id="9" creationId="{C4F44CEB-5C85-435B-BC18-ED4B0620396D}"/>
            </ac:spMkLst>
          </pc:spChg>
          <pc:spChg chg="mod">
            <ac:chgData name="Wise, Dana" userId="70e63ec6-51c5-46c7-b387-d3a85e40febb" providerId="ADAL" clId="{5F6AF4D4-9E70-48DC-AFAE-5B0BFBB50D61}" dt="2023-08-07T19:56:41.541" v="0"/>
            <ac:spMkLst>
              <pc:docMk/>
              <pc:sldMasterMk cId="2530762699" sldId="2147483701"/>
              <pc:sldLayoutMk cId="4002375553" sldId="2147483747"/>
              <ac:spMk id="29" creationId="{FDA79467-0A9E-4EB9-96A2-1A12ED8B7691}"/>
            </ac:spMkLst>
          </pc:spChg>
          <pc:spChg chg="mod">
            <ac:chgData name="Wise, Dana" userId="70e63ec6-51c5-46c7-b387-d3a85e40febb" providerId="ADAL" clId="{5F6AF4D4-9E70-48DC-AFAE-5B0BFBB50D61}" dt="2023-08-07T19:56:41.541" v="0"/>
            <ac:spMkLst>
              <pc:docMk/>
              <pc:sldMasterMk cId="2530762699" sldId="2147483701"/>
              <pc:sldLayoutMk cId="4002375553" sldId="2147483747"/>
              <ac:spMk id="31" creationId="{A2F73C00-AE0D-4169-8B8D-A912A2287816}"/>
            </ac:spMkLst>
          </pc:spChg>
          <pc:graphicFrameChg chg="mod">
            <ac:chgData name="Wise, Dana" userId="70e63ec6-51c5-46c7-b387-d3a85e40febb" providerId="ADAL" clId="{5F6AF4D4-9E70-48DC-AFAE-5B0BFBB50D61}" dt="2023-08-07T19:56:41.541" v="0"/>
            <ac:graphicFrameMkLst>
              <pc:docMk/>
              <pc:sldMasterMk cId="2530762699" sldId="2147483701"/>
              <pc:sldLayoutMk cId="4002375553" sldId="2147483747"/>
              <ac:graphicFrameMk id="28" creationId="{83CCF6A5-D39D-4670-8B7D-D9FC91648006}"/>
            </ac:graphicFrameMkLst>
          </pc:graphicFrameChg>
          <pc:picChg chg="mod">
            <ac:chgData name="Wise, Dana" userId="70e63ec6-51c5-46c7-b387-d3a85e40febb" providerId="ADAL" clId="{5F6AF4D4-9E70-48DC-AFAE-5B0BFBB50D61}" dt="2023-08-07T19:56:41.541" v="0"/>
            <ac:picMkLst>
              <pc:docMk/>
              <pc:sldMasterMk cId="2530762699" sldId="2147483701"/>
              <pc:sldLayoutMk cId="4002375553" sldId="2147483747"/>
              <ac:picMk id="8" creationId="{62852160-A695-49A9-A464-AA5B9CAA88D0}"/>
            </ac:picMkLst>
          </pc:picChg>
          <pc:picChg chg="mod">
            <ac:chgData name="Wise, Dana" userId="70e63ec6-51c5-46c7-b387-d3a85e40febb" providerId="ADAL" clId="{5F6AF4D4-9E70-48DC-AFAE-5B0BFBB50D61}" dt="2023-08-07T19:56:41.541" v="0"/>
            <ac:picMkLst>
              <pc:docMk/>
              <pc:sldMasterMk cId="2530762699" sldId="2147483701"/>
              <pc:sldLayoutMk cId="4002375553" sldId="2147483747"/>
              <ac:picMk id="10" creationId="{534F96E6-8252-4A3A-931C-27ED5FD7A02E}"/>
            </ac:picMkLst>
          </pc:picChg>
          <pc:cxnChg chg="mod">
            <ac:chgData name="Wise, Dana" userId="70e63ec6-51c5-46c7-b387-d3a85e40febb" providerId="ADAL" clId="{5F6AF4D4-9E70-48DC-AFAE-5B0BFBB50D61}" dt="2023-08-07T19:56:41.541" v="0"/>
            <ac:cxnSpMkLst>
              <pc:docMk/>
              <pc:sldMasterMk cId="2530762699" sldId="2147483701"/>
              <pc:sldLayoutMk cId="4002375553" sldId="2147483747"/>
              <ac:cxnSpMk id="14" creationId="{13648BB3-A8F0-45C7-90E2-20C0F345A142}"/>
            </ac:cxnSpMkLst>
          </pc:cxnChg>
        </pc:sldLayoutChg>
        <pc:sldLayoutChg chg="modSp del">
          <pc:chgData name="Wise, Dana" userId="70e63ec6-51c5-46c7-b387-d3a85e40febb" providerId="ADAL" clId="{5F6AF4D4-9E70-48DC-AFAE-5B0BFBB50D61}" dt="2023-08-07T20:00:05.405" v="16" actId="2696"/>
          <pc:sldLayoutMkLst>
            <pc:docMk/>
            <pc:sldMasterMk cId="2530762699" sldId="2147483701"/>
            <pc:sldLayoutMk cId="1761205326" sldId="2147483748"/>
          </pc:sldLayoutMkLst>
          <pc:spChg chg="mod">
            <ac:chgData name="Wise, Dana" userId="70e63ec6-51c5-46c7-b387-d3a85e40febb" providerId="ADAL" clId="{5F6AF4D4-9E70-48DC-AFAE-5B0BFBB50D61}" dt="2023-08-07T19:56:41.541" v="0"/>
            <ac:spMkLst>
              <pc:docMk/>
              <pc:sldMasterMk cId="2530762699" sldId="2147483701"/>
              <pc:sldLayoutMk cId="1761205326" sldId="2147483748"/>
              <ac:spMk id="8" creationId="{8CB6E976-3DD2-4C8B-96A5-F278486EF836}"/>
            </ac:spMkLst>
          </pc:spChg>
          <pc:spChg chg="mod">
            <ac:chgData name="Wise, Dana" userId="70e63ec6-51c5-46c7-b387-d3a85e40febb" providerId="ADAL" clId="{5F6AF4D4-9E70-48DC-AFAE-5B0BFBB50D61}" dt="2023-08-07T19:56:41.541" v="0"/>
            <ac:spMkLst>
              <pc:docMk/>
              <pc:sldMasterMk cId="2530762699" sldId="2147483701"/>
              <pc:sldLayoutMk cId="1761205326" sldId="2147483748"/>
              <ac:spMk id="9" creationId="{0273A34C-07F0-4691-8E99-F0756E0711CE}"/>
            </ac:spMkLst>
          </pc:spChg>
          <pc:spChg chg="mod">
            <ac:chgData name="Wise, Dana" userId="70e63ec6-51c5-46c7-b387-d3a85e40febb" providerId="ADAL" clId="{5F6AF4D4-9E70-48DC-AFAE-5B0BFBB50D61}" dt="2023-08-07T19:56:41.541" v="0"/>
            <ac:spMkLst>
              <pc:docMk/>
              <pc:sldMasterMk cId="2530762699" sldId="2147483701"/>
              <pc:sldLayoutMk cId="1761205326" sldId="2147483748"/>
              <ac:spMk id="39" creationId="{3BFCDD63-0882-4AF8-820A-360A06F8CDEA}"/>
            </ac:spMkLst>
          </pc:spChg>
          <pc:picChg chg="mod">
            <ac:chgData name="Wise, Dana" userId="70e63ec6-51c5-46c7-b387-d3a85e40febb" providerId="ADAL" clId="{5F6AF4D4-9E70-48DC-AFAE-5B0BFBB50D61}" dt="2023-08-07T19:56:41.541" v="0"/>
            <ac:picMkLst>
              <pc:docMk/>
              <pc:sldMasterMk cId="2530762699" sldId="2147483701"/>
              <pc:sldLayoutMk cId="1761205326" sldId="2147483748"/>
              <ac:picMk id="10" creationId="{FF6EB889-76E0-4655-9CB3-43B72F254E02}"/>
            </ac:picMkLst>
          </pc:picChg>
          <pc:picChg chg="mod">
            <ac:chgData name="Wise, Dana" userId="70e63ec6-51c5-46c7-b387-d3a85e40febb" providerId="ADAL" clId="{5F6AF4D4-9E70-48DC-AFAE-5B0BFBB50D61}" dt="2023-08-07T19:56:41.541" v="0"/>
            <ac:picMkLst>
              <pc:docMk/>
              <pc:sldMasterMk cId="2530762699" sldId="2147483701"/>
              <pc:sldLayoutMk cId="1761205326" sldId="2147483748"/>
              <ac:picMk id="14" creationId="{A3E08659-9A13-4582-8CBD-C371CE8AF884}"/>
            </ac:picMkLst>
          </pc:picChg>
          <pc:cxnChg chg="mod">
            <ac:chgData name="Wise, Dana" userId="70e63ec6-51c5-46c7-b387-d3a85e40febb" providerId="ADAL" clId="{5F6AF4D4-9E70-48DC-AFAE-5B0BFBB50D61}" dt="2023-08-07T19:56:41.541" v="0"/>
            <ac:cxnSpMkLst>
              <pc:docMk/>
              <pc:sldMasterMk cId="2530762699" sldId="2147483701"/>
              <pc:sldLayoutMk cId="1761205326" sldId="2147483748"/>
              <ac:cxnSpMk id="13" creationId="{646BC511-10EB-484C-B18D-C6EFEBCBF012}"/>
            </ac:cxnSpMkLst>
          </pc:cxnChg>
        </pc:sldLayoutChg>
      </pc:sldMasterChg>
    </pc:docChg>
  </pc:docChgLst>
  <pc:docChgLst>
    <pc:chgData name="Alvillar, Jerry" userId="S::jalvilla@fmi.com::f6f4cae8-2a2b-4f03-a033-a0a8eefe4c9b" providerId="AD" clId="Web-{F50E82E2-2533-3C95-5CF3-ED37487E0795}"/>
    <pc:docChg chg="addSld modSld">
      <pc:chgData name="Alvillar, Jerry" userId="S::jalvilla@fmi.com::f6f4cae8-2a2b-4f03-a033-a0a8eefe4c9b" providerId="AD" clId="Web-{F50E82E2-2533-3C95-5CF3-ED37487E0795}" dt="2023-08-07T22:22:21.709" v="34" actId="20577"/>
      <pc:docMkLst>
        <pc:docMk/>
      </pc:docMkLst>
      <pc:sldChg chg="modSp">
        <pc:chgData name="Alvillar, Jerry" userId="S::jalvilla@fmi.com::f6f4cae8-2a2b-4f03-a033-a0a8eefe4c9b" providerId="AD" clId="Web-{F50E82E2-2533-3C95-5CF3-ED37487E0795}" dt="2023-08-07T21:26:07.176" v="9" actId="20577"/>
        <pc:sldMkLst>
          <pc:docMk/>
          <pc:sldMk cId="2895837635" sldId="261"/>
        </pc:sldMkLst>
        <pc:spChg chg="mod">
          <ac:chgData name="Alvillar, Jerry" userId="S::jalvilla@fmi.com::f6f4cae8-2a2b-4f03-a033-a0a8eefe4c9b" providerId="AD" clId="Web-{F50E82E2-2533-3C95-5CF3-ED37487E0795}" dt="2023-08-07T21:26:07.176" v="9" actId="20577"/>
          <ac:spMkLst>
            <pc:docMk/>
            <pc:sldMk cId="2895837635" sldId="261"/>
            <ac:spMk id="13" creationId="{EA8627D0-7301-4F56-99B5-985248B5C3BD}"/>
          </ac:spMkLst>
        </pc:spChg>
      </pc:sldChg>
      <pc:sldChg chg="modSp new">
        <pc:chgData name="Alvillar, Jerry" userId="S::jalvilla@fmi.com::f6f4cae8-2a2b-4f03-a033-a0a8eefe4c9b" providerId="AD" clId="Web-{F50E82E2-2533-3C95-5CF3-ED37487E0795}" dt="2023-08-07T22:22:21.709" v="34" actId="20577"/>
        <pc:sldMkLst>
          <pc:docMk/>
          <pc:sldMk cId="3730883990" sldId="2147472240"/>
        </pc:sldMkLst>
        <pc:spChg chg="mod">
          <ac:chgData name="Alvillar, Jerry" userId="S::jalvilla@fmi.com::f6f4cae8-2a2b-4f03-a033-a0a8eefe4c9b" providerId="AD" clId="Web-{F50E82E2-2533-3C95-5CF3-ED37487E0795}" dt="2023-08-07T22:22:21.709" v="34" actId="20577"/>
          <ac:spMkLst>
            <pc:docMk/>
            <pc:sldMk cId="3730883990" sldId="2147472240"/>
            <ac:spMk id="2" creationId="{789BD840-409E-289C-6F4C-0A4D6D056548}"/>
          </ac:spMkLst>
        </pc:spChg>
      </pc:sldChg>
    </pc:docChg>
  </pc:docChgLst>
  <pc:docChgLst>
    <pc:chgData name="Wise, Dana" userId="S::dwise@fmi.com::70e63ec6-51c5-46c7-b387-d3a85e40febb" providerId="AD" clId="Web-{6F501D74-210F-4418-B7F5-FD17AB58750E}"/>
    <pc:docChg chg="addSld delSld modSld sldOrd">
      <pc:chgData name="Wise, Dana" userId="S::dwise@fmi.com::70e63ec6-51c5-46c7-b387-d3a85e40febb" providerId="AD" clId="Web-{6F501D74-210F-4418-B7F5-FD17AB58750E}" dt="2023-08-07T19:54:32.950" v="224"/>
      <pc:docMkLst>
        <pc:docMk/>
      </pc:docMkLst>
      <pc:sldChg chg="del">
        <pc:chgData name="Wise, Dana" userId="S::dwise@fmi.com::70e63ec6-51c5-46c7-b387-d3a85e40febb" providerId="AD" clId="Web-{6F501D74-210F-4418-B7F5-FD17AB58750E}" dt="2023-08-07T19:40:57.059" v="93"/>
        <pc:sldMkLst>
          <pc:docMk/>
          <pc:sldMk cId="2349231966" sldId="265"/>
        </pc:sldMkLst>
      </pc:sldChg>
      <pc:sldChg chg="ord">
        <pc:chgData name="Wise, Dana" userId="S::dwise@fmi.com::70e63ec6-51c5-46c7-b387-d3a85e40febb" providerId="AD" clId="Web-{6F501D74-210F-4418-B7F5-FD17AB58750E}" dt="2023-08-07T19:54:32.950" v="224"/>
        <pc:sldMkLst>
          <pc:docMk/>
          <pc:sldMk cId="3861504043" sldId="319"/>
        </pc:sldMkLst>
      </pc:sldChg>
      <pc:sldChg chg="addSp modSp">
        <pc:chgData name="Wise, Dana" userId="S::dwise@fmi.com::70e63ec6-51c5-46c7-b387-d3a85e40febb" providerId="AD" clId="Web-{6F501D74-210F-4418-B7F5-FD17AB58750E}" dt="2023-08-07T19:49:19.973" v="160" actId="20577"/>
        <pc:sldMkLst>
          <pc:docMk/>
          <pc:sldMk cId="528327316" sldId="321"/>
        </pc:sldMkLst>
        <pc:spChg chg="mod">
          <ac:chgData name="Wise, Dana" userId="S::dwise@fmi.com::70e63ec6-51c5-46c7-b387-d3a85e40febb" providerId="AD" clId="Web-{6F501D74-210F-4418-B7F5-FD17AB58750E}" dt="2023-08-07T19:49:19.973" v="160" actId="20577"/>
          <ac:spMkLst>
            <pc:docMk/>
            <pc:sldMk cId="528327316" sldId="321"/>
            <ac:spMk id="2" creationId="{6E547E13-AC25-4130-BCD0-6E252BD460AF}"/>
          </ac:spMkLst>
        </pc:spChg>
        <pc:spChg chg="mod">
          <ac:chgData name="Wise, Dana" userId="S::dwise@fmi.com::70e63ec6-51c5-46c7-b387-d3a85e40febb" providerId="AD" clId="Web-{6F501D74-210F-4418-B7F5-FD17AB58750E}" dt="2023-08-07T19:49:08.878" v="159" actId="14100"/>
          <ac:spMkLst>
            <pc:docMk/>
            <pc:sldMk cId="528327316" sldId="321"/>
            <ac:spMk id="3" creationId="{A955B68D-AD1E-4A6A-861F-8E882B5A8DA2}"/>
          </ac:spMkLst>
        </pc:spChg>
        <pc:picChg chg="add">
          <ac:chgData name="Wise, Dana" userId="S::dwise@fmi.com::70e63ec6-51c5-46c7-b387-d3a85e40febb" providerId="AD" clId="Web-{6F501D74-210F-4418-B7F5-FD17AB58750E}" dt="2023-08-07T19:49:05.628" v="158"/>
          <ac:picMkLst>
            <pc:docMk/>
            <pc:sldMk cId="528327316" sldId="321"/>
            <ac:picMk id="6" creationId="{EF4E85D0-C31B-EF38-C322-66E30A6159DB}"/>
          </ac:picMkLst>
        </pc:picChg>
      </pc:sldChg>
      <pc:sldChg chg="addSp delSp modSp">
        <pc:chgData name="Wise, Dana" userId="S::dwise@fmi.com::70e63ec6-51c5-46c7-b387-d3a85e40febb" providerId="AD" clId="Web-{6F501D74-210F-4418-B7F5-FD17AB58750E}" dt="2023-08-07T19:38:14.359" v="68" actId="20577"/>
        <pc:sldMkLst>
          <pc:docMk/>
          <pc:sldMk cId="960210967" sldId="323"/>
        </pc:sldMkLst>
        <pc:spChg chg="mod">
          <ac:chgData name="Wise, Dana" userId="S::dwise@fmi.com::70e63ec6-51c5-46c7-b387-d3a85e40febb" providerId="AD" clId="Web-{6F501D74-210F-4418-B7F5-FD17AB58750E}" dt="2023-08-07T19:38:14.359" v="68" actId="20577"/>
          <ac:spMkLst>
            <pc:docMk/>
            <pc:sldMk cId="960210967" sldId="323"/>
            <ac:spMk id="2" creationId="{83F0A328-E50E-4DB5-BAF7-358E9F419902}"/>
          </ac:spMkLst>
        </pc:spChg>
        <pc:picChg chg="add del mod">
          <ac:chgData name="Wise, Dana" userId="S::dwise@fmi.com::70e63ec6-51c5-46c7-b387-d3a85e40febb" providerId="AD" clId="Web-{6F501D74-210F-4418-B7F5-FD17AB58750E}" dt="2023-08-07T19:37:51.920" v="48"/>
          <ac:picMkLst>
            <pc:docMk/>
            <pc:sldMk cId="960210967" sldId="323"/>
            <ac:picMk id="3" creationId="{29FD722C-7DB8-7D01-0969-63E2FF5D4DC8}"/>
          </ac:picMkLst>
        </pc:picChg>
        <pc:picChg chg="add del">
          <ac:chgData name="Wise, Dana" userId="S::dwise@fmi.com::70e63ec6-51c5-46c7-b387-d3a85e40febb" providerId="AD" clId="Web-{6F501D74-210F-4418-B7F5-FD17AB58750E}" dt="2023-08-07T19:37:53.608" v="49"/>
          <ac:picMkLst>
            <pc:docMk/>
            <pc:sldMk cId="960210967" sldId="323"/>
            <ac:picMk id="6" creationId="{22F598FB-D3B6-4AAB-962B-47F2C0F066B3}"/>
          </ac:picMkLst>
        </pc:picChg>
      </pc:sldChg>
      <pc:sldChg chg="ord">
        <pc:chgData name="Wise, Dana" userId="S::dwise@fmi.com::70e63ec6-51c5-46c7-b387-d3a85e40febb" providerId="AD" clId="Web-{6F501D74-210F-4418-B7F5-FD17AB58750E}" dt="2023-08-07T19:49:51.084" v="162"/>
        <pc:sldMkLst>
          <pc:docMk/>
          <pc:sldMk cId="3731937585" sldId="324"/>
        </pc:sldMkLst>
      </pc:sldChg>
      <pc:sldChg chg="addSp delSp modSp">
        <pc:chgData name="Wise, Dana" userId="S::dwise@fmi.com::70e63ec6-51c5-46c7-b387-d3a85e40febb" providerId="AD" clId="Web-{6F501D74-210F-4418-B7F5-FD17AB58750E}" dt="2023-08-07T19:52:01.923" v="222" actId="20577"/>
        <pc:sldMkLst>
          <pc:docMk/>
          <pc:sldMk cId="3360715190" sldId="2147472226"/>
        </pc:sldMkLst>
        <pc:spChg chg="mod">
          <ac:chgData name="Wise, Dana" userId="S::dwise@fmi.com::70e63ec6-51c5-46c7-b387-d3a85e40febb" providerId="AD" clId="Web-{6F501D74-210F-4418-B7F5-FD17AB58750E}" dt="2023-08-07T19:50:53.011" v="171"/>
          <ac:spMkLst>
            <pc:docMk/>
            <pc:sldMk cId="3360715190" sldId="2147472226"/>
            <ac:spMk id="2" creationId="{859E31E5-BE7B-41AB-8ADF-AC60552C5D9C}"/>
          </ac:spMkLst>
        </pc:spChg>
        <pc:spChg chg="del mod">
          <ac:chgData name="Wise, Dana" userId="S::dwise@fmi.com::70e63ec6-51c5-46c7-b387-d3a85e40febb" providerId="AD" clId="Web-{6F501D74-210F-4418-B7F5-FD17AB58750E}" dt="2023-08-07T19:50:53.011" v="171"/>
          <ac:spMkLst>
            <pc:docMk/>
            <pc:sldMk cId="3360715190" sldId="2147472226"/>
            <ac:spMk id="3" creationId="{D83B14C8-5262-453A-80F2-15B69896AFD2}"/>
          </ac:spMkLst>
        </pc:spChg>
        <pc:spChg chg="mod">
          <ac:chgData name="Wise, Dana" userId="S::dwise@fmi.com::70e63ec6-51c5-46c7-b387-d3a85e40febb" providerId="AD" clId="Web-{6F501D74-210F-4418-B7F5-FD17AB58750E}" dt="2023-08-07T19:50:53.011" v="171"/>
          <ac:spMkLst>
            <pc:docMk/>
            <pc:sldMk cId="3360715190" sldId="2147472226"/>
            <ac:spMk id="4" creationId="{B5DBE96B-C5F2-4ACE-B73E-66BA09FC0987}"/>
          </ac:spMkLst>
        </pc:spChg>
        <pc:graphicFrameChg chg="add modGraphic">
          <ac:chgData name="Wise, Dana" userId="S::dwise@fmi.com::70e63ec6-51c5-46c7-b387-d3a85e40febb" providerId="AD" clId="Web-{6F501D74-210F-4418-B7F5-FD17AB58750E}" dt="2023-08-07T19:52:01.923" v="222" actId="20577"/>
          <ac:graphicFrameMkLst>
            <pc:docMk/>
            <pc:sldMk cId="3360715190" sldId="2147472226"/>
            <ac:graphicFrameMk id="6" creationId="{7D3B0A5B-BA83-A322-E352-A9A25E8AB748}"/>
          </ac:graphicFrameMkLst>
        </pc:graphicFrameChg>
      </pc:sldChg>
      <pc:sldChg chg="addSp delSp modSp">
        <pc:chgData name="Wise, Dana" userId="S::dwise@fmi.com::70e63ec6-51c5-46c7-b387-d3a85e40febb" providerId="AD" clId="Web-{6F501D74-210F-4418-B7F5-FD17AB58750E}" dt="2023-08-07T19:38:08.593" v="67" actId="20577"/>
        <pc:sldMkLst>
          <pc:docMk/>
          <pc:sldMk cId="4223386410" sldId="2147472230"/>
        </pc:sldMkLst>
        <pc:spChg chg="mod">
          <ac:chgData name="Wise, Dana" userId="S::dwise@fmi.com::70e63ec6-51c5-46c7-b387-d3a85e40febb" providerId="AD" clId="Web-{6F501D74-210F-4418-B7F5-FD17AB58750E}" dt="2023-08-07T19:38:08.593" v="67" actId="20577"/>
          <ac:spMkLst>
            <pc:docMk/>
            <pc:sldMk cId="4223386410" sldId="2147472230"/>
            <ac:spMk id="2" creationId="{12366622-9EB6-4361-82B5-AF16F363F12F}"/>
          </ac:spMkLst>
        </pc:spChg>
        <pc:spChg chg="add del mod">
          <ac:chgData name="Wise, Dana" userId="S::dwise@fmi.com::70e63ec6-51c5-46c7-b387-d3a85e40febb" providerId="AD" clId="Web-{6F501D74-210F-4418-B7F5-FD17AB58750E}" dt="2023-08-07T19:35:52.380" v="1"/>
          <ac:spMkLst>
            <pc:docMk/>
            <pc:sldMk cId="4223386410" sldId="2147472230"/>
            <ac:spMk id="5" creationId="{B9267C78-5170-AADD-608A-3ADA62B4EA2F}"/>
          </ac:spMkLst>
        </pc:spChg>
        <pc:picChg chg="del">
          <ac:chgData name="Wise, Dana" userId="S::dwise@fmi.com::70e63ec6-51c5-46c7-b387-d3a85e40febb" providerId="AD" clId="Web-{6F501D74-210F-4418-B7F5-FD17AB58750E}" dt="2023-08-07T19:35:48.536" v="0"/>
          <ac:picMkLst>
            <pc:docMk/>
            <pc:sldMk cId="4223386410" sldId="2147472230"/>
            <ac:picMk id="6" creationId="{160DFA02-EBD0-471A-913E-2F720B5322A7}"/>
          </ac:picMkLst>
        </pc:picChg>
        <pc:picChg chg="add del mod">
          <ac:chgData name="Wise, Dana" userId="S::dwise@fmi.com::70e63ec6-51c5-46c7-b387-d3a85e40febb" providerId="AD" clId="Web-{6F501D74-210F-4418-B7F5-FD17AB58750E}" dt="2023-08-07T19:37:58.264" v="50"/>
          <ac:picMkLst>
            <pc:docMk/>
            <pc:sldMk cId="4223386410" sldId="2147472230"/>
            <ac:picMk id="7" creationId="{8683C225-C61E-1B0D-6999-E173FE4C4FB4}"/>
          </ac:picMkLst>
        </pc:picChg>
        <pc:picChg chg="add mod">
          <ac:chgData name="Wise, Dana" userId="S::dwise@fmi.com::70e63ec6-51c5-46c7-b387-d3a85e40febb" providerId="AD" clId="Web-{6F501D74-210F-4418-B7F5-FD17AB58750E}" dt="2023-08-07T19:38:04.281" v="53" actId="14100"/>
          <ac:picMkLst>
            <pc:docMk/>
            <pc:sldMk cId="4223386410" sldId="2147472230"/>
            <ac:picMk id="8" creationId="{CE4927B8-1355-145C-DE94-EA37858F1E0F}"/>
          </ac:picMkLst>
        </pc:picChg>
      </pc:sldChg>
      <pc:sldChg chg="addSp delSp modSp new">
        <pc:chgData name="Wise, Dana" userId="S::dwise@fmi.com::70e63ec6-51c5-46c7-b387-d3a85e40febb" providerId="AD" clId="Web-{6F501D74-210F-4418-B7F5-FD17AB58750E}" dt="2023-08-07T19:45:01.312" v="130"/>
        <pc:sldMkLst>
          <pc:docMk/>
          <pc:sldMk cId="870992311" sldId="2147472231"/>
        </pc:sldMkLst>
        <pc:spChg chg="mod">
          <ac:chgData name="Wise, Dana" userId="S::dwise@fmi.com::70e63ec6-51c5-46c7-b387-d3a85e40febb" providerId="AD" clId="Web-{6F501D74-210F-4418-B7F5-FD17AB58750E}" dt="2023-08-07T19:43:19.680" v="124" actId="20577"/>
          <ac:spMkLst>
            <pc:docMk/>
            <pc:sldMk cId="870992311" sldId="2147472231"/>
            <ac:spMk id="2" creationId="{99B179C6-6DA7-165E-4BB0-7D48F8607545}"/>
          </ac:spMkLst>
        </pc:spChg>
        <pc:spChg chg="del">
          <ac:chgData name="Wise, Dana" userId="S::dwise@fmi.com::70e63ec6-51c5-46c7-b387-d3a85e40febb" providerId="AD" clId="Web-{6F501D74-210F-4418-B7F5-FD17AB58750E}" dt="2023-08-07T19:42:40.552" v="111"/>
          <ac:spMkLst>
            <pc:docMk/>
            <pc:sldMk cId="870992311" sldId="2147472231"/>
            <ac:spMk id="3" creationId="{D484D7F5-A724-3F41-E2C7-C89D40E2C43A}"/>
          </ac:spMkLst>
        </pc:spChg>
        <pc:picChg chg="add mod">
          <ac:chgData name="Wise, Dana" userId="S::dwise@fmi.com::70e63ec6-51c5-46c7-b387-d3a85e40febb" providerId="AD" clId="Web-{6F501D74-210F-4418-B7F5-FD17AB58750E}" dt="2023-08-07T19:42:51.381" v="116" actId="1076"/>
          <ac:picMkLst>
            <pc:docMk/>
            <pc:sldMk cId="870992311" sldId="2147472231"/>
            <ac:picMk id="5" creationId="{8C830B65-DD40-95DB-AE2F-77B3CF771BC6}"/>
          </ac:picMkLst>
        </pc:picChg>
        <pc:picChg chg="add mod">
          <ac:chgData name="Wise, Dana" userId="S::dwise@fmi.com::70e63ec6-51c5-46c7-b387-d3a85e40febb" providerId="AD" clId="Web-{6F501D74-210F-4418-B7F5-FD17AB58750E}" dt="2023-08-07T19:45:01.312" v="130"/>
          <ac:picMkLst>
            <pc:docMk/>
            <pc:sldMk cId="870992311" sldId="2147472231"/>
            <ac:picMk id="6" creationId="{0F4AC2CE-D75B-0550-7A63-28F8DDFF0E78}"/>
          </ac:picMkLst>
        </pc:picChg>
      </pc:sldChg>
      <pc:sldChg chg="addSp delSp modSp new del">
        <pc:chgData name="Wise, Dana" userId="S::dwise@fmi.com::70e63ec6-51c5-46c7-b387-d3a85e40febb" providerId="AD" clId="Web-{6F501D74-210F-4418-B7F5-FD17AB58750E}" dt="2023-08-07T19:49:22.692" v="161"/>
        <pc:sldMkLst>
          <pc:docMk/>
          <pc:sldMk cId="671039130" sldId="2147472232"/>
        </pc:sldMkLst>
        <pc:spChg chg="mod">
          <ac:chgData name="Wise, Dana" userId="S::dwise@fmi.com::70e63ec6-51c5-46c7-b387-d3a85e40febb" providerId="AD" clId="Web-{6F501D74-210F-4418-B7F5-FD17AB58750E}" dt="2023-08-07T19:48:11.655" v="141" actId="20577"/>
          <ac:spMkLst>
            <pc:docMk/>
            <pc:sldMk cId="671039130" sldId="2147472232"/>
            <ac:spMk id="2" creationId="{8F0D917C-A5CE-6ED2-5133-18846A8D9DC9}"/>
          </ac:spMkLst>
        </pc:spChg>
        <pc:spChg chg="del">
          <ac:chgData name="Wise, Dana" userId="S::dwise@fmi.com::70e63ec6-51c5-46c7-b387-d3a85e40febb" providerId="AD" clId="Web-{6F501D74-210F-4418-B7F5-FD17AB58750E}" dt="2023-08-07T19:47:57.498" v="132"/>
          <ac:spMkLst>
            <pc:docMk/>
            <pc:sldMk cId="671039130" sldId="2147472232"/>
            <ac:spMk id="3" creationId="{65ABF083-53E8-6B1F-0998-04BAB0BF0785}"/>
          </ac:spMkLst>
        </pc:spChg>
        <pc:spChg chg="add del mod">
          <ac:chgData name="Wise, Dana" userId="S::dwise@fmi.com::70e63ec6-51c5-46c7-b387-d3a85e40febb" providerId="AD" clId="Web-{6F501D74-210F-4418-B7F5-FD17AB58750E}" dt="2023-08-07T19:48:57.846" v="154"/>
          <ac:spMkLst>
            <pc:docMk/>
            <pc:sldMk cId="671039130" sldId="2147472232"/>
            <ac:spMk id="6" creationId="{0BFEC8DD-4005-4FB1-74B0-F54F1BD92D0F}"/>
          </ac:spMkLst>
        </pc:spChg>
        <pc:spChg chg="add del mod">
          <ac:chgData name="Wise, Dana" userId="S::dwise@fmi.com::70e63ec6-51c5-46c7-b387-d3a85e40febb" providerId="AD" clId="Web-{6F501D74-210F-4418-B7F5-FD17AB58750E}" dt="2023-08-07T19:49:00.190" v="157"/>
          <ac:spMkLst>
            <pc:docMk/>
            <pc:sldMk cId="671039130" sldId="2147472232"/>
            <ac:spMk id="7" creationId="{D24B0D37-CB50-F34F-9A1B-797E5C82091D}"/>
          </ac:spMkLst>
        </pc:spChg>
        <pc:picChg chg="add mod ord">
          <ac:chgData name="Wise, Dana" userId="S::dwise@fmi.com::70e63ec6-51c5-46c7-b387-d3a85e40febb" providerId="AD" clId="Web-{6F501D74-210F-4418-B7F5-FD17AB58750E}" dt="2023-08-07T19:47:59.982" v="133" actId="1076"/>
          <ac:picMkLst>
            <pc:docMk/>
            <pc:sldMk cId="671039130" sldId="2147472232"/>
            <ac:picMk id="5" creationId="{BA5EACFC-BE84-90C8-91B3-A5230E6EB169}"/>
          </ac:picMkLst>
        </pc:picChg>
      </pc:sldChg>
    </pc:docChg>
  </pc:docChgLst>
  <pc:docChgLst>
    <pc:chgData name="Alvillar, Jerry" userId="f6f4cae8-2a2b-4f03-a033-a0a8eefe4c9b" providerId="ADAL" clId="{419BEFAD-9512-4473-AE30-E3A881A2A823}"/>
    <pc:docChg chg="undo custSel addSld delSld modSld">
      <pc:chgData name="Alvillar, Jerry" userId="f6f4cae8-2a2b-4f03-a033-a0a8eefe4c9b" providerId="ADAL" clId="{419BEFAD-9512-4473-AE30-E3A881A2A823}" dt="2023-08-08T04:11:40.374" v="179" actId="14100"/>
      <pc:docMkLst>
        <pc:docMk/>
      </pc:docMkLst>
      <pc:sldChg chg="addSp modSp add mod">
        <pc:chgData name="Alvillar, Jerry" userId="f6f4cae8-2a2b-4f03-a033-a0a8eefe4c9b" providerId="ADAL" clId="{419BEFAD-9512-4473-AE30-E3A881A2A823}" dt="2023-08-08T04:01:36.274" v="151" actId="20577"/>
        <pc:sldMkLst>
          <pc:docMk/>
          <pc:sldMk cId="742466130" sldId="257"/>
        </pc:sldMkLst>
        <pc:spChg chg="add mod">
          <ac:chgData name="Alvillar, Jerry" userId="f6f4cae8-2a2b-4f03-a033-a0a8eefe4c9b" providerId="ADAL" clId="{419BEFAD-9512-4473-AE30-E3A881A2A823}" dt="2023-08-08T04:01:36.274" v="151" actId="20577"/>
          <ac:spMkLst>
            <pc:docMk/>
            <pc:sldMk cId="742466130" sldId="257"/>
            <ac:spMk id="2" creationId="{27F30274-718C-4DD4-8C27-35DA5F70F3AA}"/>
          </ac:spMkLst>
        </pc:spChg>
        <pc:spChg chg="mod">
          <ac:chgData name="Alvillar, Jerry" userId="f6f4cae8-2a2b-4f03-a033-a0a8eefe4c9b" providerId="ADAL" clId="{419BEFAD-9512-4473-AE30-E3A881A2A823}" dt="2023-08-08T03:58:47.604" v="67" actId="1076"/>
          <ac:spMkLst>
            <pc:docMk/>
            <pc:sldMk cId="742466130" sldId="257"/>
            <ac:spMk id="10" creationId="{60484115-317F-4934-BCF2-6C9CDB69C097}"/>
          </ac:spMkLst>
        </pc:spChg>
        <pc:picChg chg="mod">
          <ac:chgData name="Alvillar, Jerry" userId="f6f4cae8-2a2b-4f03-a033-a0a8eefe4c9b" providerId="ADAL" clId="{419BEFAD-9512-4473-AE30-E3A881A2A823}" dt="2023-08-08T03:58:23.734" v="60" actId="1076"/>
          <ac:picMkLst>
            <pc:docMk/>
            <pc:sldMk cId="742466130" sldId="257"/>
            <ac:picMk id="5" creationId="{D82472ED-0BF6-4539-85C2-FACAF44DFF90}"/>
          </ac:picMkLst>
        </pc:picChg>
        <pc:picChg chg="mod">
          <ac:chgData name="Alvillar, Jerry" userId="f6f4cae8-2a2b-4f03-a033-a0a8eefe4c9b" providerId="ADAL" clId="{419BEFAD-9512-4473-AE30-E3A881A2A823}" dt="2023-08-08T03:58:57.121" v="69" actId="1076"/>
          <ac:picMkLst>
            <pc:docMk/>
            <pc:sldMk cId="742466130" sldId="257"/>
            <ac:picMk id="7" creationId="{1BE8F4EB-C263-4612-98E4-239034651893}"/>
          </ac:picMkLst>
        </pc:picChg>
        <pc:picChg chg="mod">
          <ac:chgData name="Alvillar, Jerry" userId="f6f4cae8-2a2b-4f03-a033-a0a8eefe4c9b" providerId="ADAL" clId="{419BEFAD-9512-4473-AE30-E3A881A2A823}" dt="2023-08-08T03:58:52.679" v="68" actId="14100"/>
          <ac:picMkLst>
            <pc:docMk/>
            <pc:sldMk cId="742466130" sldId="257"/>
            <ac:picMk id="9" creationId="{0843540F-9CB3-4DD1-8170-ABDED305B315}"/>
          </ac:picMkLst>
        </pc:picChg>
      </pc:sldChg>
      <pc:sldChg chg="addSp modSp add mod">
        <pc:chgData name="Alvillar, Jerry" userId="f6f4cae8-2a2b-4f03-a033-a0a8eefe4c9b" providerId="ADAL" clId="{419BEFAD-9512-4473-AE30-E3A881A2A823}" dt="2023-08-08T03:59:09.553" v="70" actId="113"/>
        <pc:sldMkLst>
          <pc:docMk/>
          <pc:sldMk cId="3304989428" sldId="259"/>
        </pc:sldMkLst>
        <pc:spChg chg="add mod">
          <ac:chgData name="Alvillar, Jerry" userId="f6f4cae8-2a2b-4f03-a033-a0a8eefe4c9b" providerId="ADAL" clId="{419BEFAD-9512-4473-AE30-E3A881A2A823}" dt="2023-08-08T03:59:09.553" v="70" actId="113"/>
          <ac:spMkLst>
            <pc:docMk/>
            <pc:sldMk cId="3304989428" sldId="259"/>
            <ac:spMk id="2" creationId="{998AFC74-0849-42A7-9591-C5F58BC7DAB6}"/>
          </ac:spMkLst>
        </pc:spChg>
        <pc:spChg chg="add mod">
          <ac:chgData name="Alvillar, Jerry" userId="f6f4cae8-2a2b-4f03-a033-a0a8eefe4c9b" providerId="ADAL" clId="{419BEFAD-9512-4473-AE30-E3A881A2A823}" dt="2023-08-08T03:56:39.651" v="51" actId="14100"/>
          <ac:spMkLst>
            <pc:docMk/>
            <pc:sldMk cId="3304989428" sldId="259"/>
            <ac:spMk id="3" creationId="{5BA96000-22A7-4DCB-91C0-5B47FEFB105B}"/>
          </ac:spMkLst>
        </pc:spChg>
        <pc:picChg chg="mod">
          <ac:chgData name="Alvillar, Jerry" userId="f6f4cae8-2a2b-4f03-a033-a0a8eefe4c9b" providerId="ADAL" clId="{419BEFAD-9512-4473-AE30-E3A881A2A823}" dt="2023-08-08T03:56:01.127" v="20" actId="1076"/>
          <ac:picMkLst>
            <pc:docMk/>
            <pc:sldMk cId="3304989428" sldId="259"/>
            <ac:picMk id="7" creationId="{4A49663A-AB02-4518-A78A-A5EEFF54C28A}"/>
          </ac:picMkLst>
        </pc:picChg>
        <pc:cxnChg chg="add mod">
          <ac:chgData name="Alvillar, Jerry" userId="f6f4cae8-2a2b-4f03-a033-a0a8eefe4c9b" providerId="ADAL" clId="{419BEFAD-9512-4473-AE30-E3A881A2A823}" dt="2023-08-08T03:57:47.865" v="55" actId="1582"/>
          <ac:cxnSpMkLst>
            <pc:docMk/>
            <pc:sldMk cId="3304989428" sldId="259"/>
            <ac:cxnSpMk id="5" creationId="{9822B31F-AC17-4EFA-9444-5777855316E7}"/>
          </ac:cxnSpMkLst>
        </pc:cxnChg>
      </pc:sldChg>
      <pc:sldChg chg="modSp mod">
        <pc:chgData name="Alvillar, Jerry" userId="f6f4cae8-2a2b-4f03-a033-a0a8eefe4c9b" providerId="ADAL" clId="{419BEFAD-9512-4473-AE30-E3A881A2A823}" dt="2023-08-08T04:02:15.414" v="161" actId="20577"/>
        <pc:sldMkLst>
          <pc:docMk/>
          <pc:sldMk cId="2895837635" sldId="261"/>
        </pc:sldMkLst>
        <pc:spChg chg="mod">
          <ac:chgData name="Alvillar, Jerry" userId="f6f4cae8-2a2b-4f03-a033-a0a8eefe4c9b" providerId="ADAL" clId="{419BEFAD-9512-4473-AE30-E3A881A2A823}" dt="2023-08-08T04:02:15.414" v="161" actId="20577"/>
          <ac:spMkLst>
            <pc:docMk/>
            <pc:sldMk cId="2895837635" sldId="261"/>
            <ac:spMk id="13" creationId="{EA8627D0-7301-4F56-99B5-985248B5C3BD}"/>
          </ac:spMkLst>
        </pc:spChg>
      </pc:sldChg>
      <pc:sldChg chg="addSp delSp modSp mod">
        <pc:chgData name="Alvillar, Jerry" userId="f6f4cae8-2a2b-4f03-a033-a0a8eefe4c9b" providerId="ADAL" clId="{419BEFAD-9512-4473-AE30-E3A881A2A823}" dt="2023-08-08T04:11:40.374" v="179" actId="14100"/>
        <pc:sldMkLst>
          <pc:docMk/>
          <pc:sldMk cId="3731937585" sldId="324"/>
        </pc:sldMkLst>
        <pc:spChg chg="mod">
          <ac:chgData name="Alvillar, Jerry" userId="f6f4cae8-2a2b-4f03-a033-a0a8eefe4c9b" providerId="ADAL" clId="{419BEFAD-9512-4473-AE30-E3A881A2A823}" dt="2023-08-08T04:11:13.192" v="167" actId="1076"/>
          <ac:spMkLst>
            <pc:docMk/>
            <pc:sldMk cId="3731937585" sldId="324"/>
            <ac:spMk id="6" creationId="{F050EF85-D4D9-4664-BC5B-B93FC74BB57C}"/>
          </ac:spMkLst>
        </pc:spChg>
        <pc:spChg chg="mod">
          <ac:chgData name="Alvillar, Jerry" userId="f6f4cae8-2a2b-4f03-a033-a0a8eefe4c9b" providerId="ADAL" clId="{419BEFAD-9512-4473-AE30-E3A881A2A823}" dt="2023-08-08T04:11:34.504" v="178" actId="20577"/>
          <ac:spMkLst>
            <pc:docMk/>
            <pc:sldMk cId="3731937585" sldId="324"/>
            <ac:spMk id="7" creationId="{2DECBFBD-5A80-4A3F-8723-1346760A8620}"/>
          </ac:spMkLst>
        </pc:spChg>
        <pc:picChg chg="del">
          <ac:chgData name="Alvillar, Jerry" userId="f6f4cae8-2a2b-4f03-a033-a0a8eefe4c9b" providerId="ADAL" clId="{419BEFAD-9512-4473-AE30-E3A881A2A823}" dt="2023-08-08T04:11:00.433" v="163" actId="478"/>
          <ac:picMkLst>
            <pc:docMk/>
            <pc:sldMk cId="3731937585" sldId="324"/>
            <ac:picMk id="15362" creationId="{14612A80-71FD-4C06-82DC-1BCBF90ABA84}"/>
          </ac:picMkLst>
        </pc:picChg>
        <pc:picChg chg="add mod">
          <ac:chgData name="Alvillar, Jerry" userId="f6f4cae8-2a2b-4f03-a033-a0a8eefe4c9b" providerId="ADAL" clId="{419BEFAD-9512-4473-AE30-E3A881A2A823}" dt="2023-08-08T04:11:40.374" v="179" actId="14100"/>
          <ac:picMkLst>
            <pc:docMk/>
            <pc:sldMk cId="3731937585" sldId="324"/>
            <ac:picMk id="45058" creationId="{EBFE77CA-CFC4-4B18-BF1B-2FC1CCB64B2C}"/>
          </ac:picMkLst>
        </pc:picChg>
      </pc:sldChg>
      <pc:sldChg chg="del">
        <pc:chgData name="Alvillar, Jerry" userId="f6f4cae8-2a2b-4f03-a033-a0a8eefe4c9b" providerId="ADAL" clId="{419BEFAD-9512-4473-AE30-E3A881A2A823}" dt="2023-08-08T04:02:03.857" v="153" actId="47"/>
        <pc:sldMkLst>
          <pc:docMk/>
          <pc:sldMk cId="3730883990" sldId="2147472240"/>
        </pc:sldMkLst>
      </pc:sldChg>
      <pc:sldChg chg="addSp modSp add mod">
        <pc:chgData name="Alvillar, Jerry" userId="f6f4cae8-2a2b-4f03-a033-a0a8eefe4c9b" providerId="ADAL" clId="{419BEFAD-9512-4473-AE30-E3A881A2A823}" dt="2023-08-08T04:01:46.572" v="152"/>
        <pc:sldMkLst>
          <pc:docMk/>
          <pc:sldMk cId="720054150" sldId="2147472241"/>
        </pc:sldMkLst>
        <pc:spChg chg="mod">
          <ac:chgData name="Alvillar, Jerry" userId="f6f4cae8-2a2b-4f03-a033-a0a8eefe4c9b" providerId="ADAL" clId="{419BEFAD-9512-4473-AE30-E3A881A2A823}" dt="2023-08-08T04:00:28.655" v="97" actId="1036"/>
          <ac:spMkLst>
            <pc:docMk/>
            <pc:sldMk cId="720054150" sldId="2147472241"/>
            <ac:spMk id="6" creationId="{2AB17D94-BC44-4FFF-A2C7-ABB123369CEA}"/>
          </ac:spMkLst>
        </pc:spChg>
        <pc:spChg chg="mod">
          <ac:chgData name="Alvillar, Jerry" userId="f6f4cae8-2a2b-4f03-a033-a0a8eefe4c9b" providerId="ADAL" clId="{419BEFAD-9512-4473-AE30-E3A881A2A823}" dt="2023-08-08T04:00:28.655" v="97" actId="1036"/>
          <ac:spMkLst>
            <pc:docMk/>
            <pc:sldMk cId="720054150" sldId="2147472241"/>
            <ac:spMk id="9" creationId="{80719367-5CD8-42D4-879A-9192F8A28EB1}"/>
          </ac:spMkLst>
        </pc:spChg>
        <pc:spChg chg="mod">
          <ac:chgData name="Alvillar, Jerry" userId="f6f4cae8-2a2b-4f03-a033-a0a8eefe4c9b" providerId="ADAL" clId="{419BEFAD-9512-4473-AE30-E3A881A2A823}" dt="2023-08-08T04:00:28.655" v="97" actId="1036"/>
          <ac:spMkLst>
            <pc:docMk/>
            <pc:sldMk cId="720054150" sldId="2147472241"/>
            <ac:spMk id="11" creationId="{88A3E597-395F-4E5C-A93F-DC372E9195ED}"/>
          </ac:spMkLst>
        </pc:spChg>
        <pc:spChg chg="mod">
          <ac:chgData name="Alvillar, Jerry" userId="f6f4cae8-2a2b-4f03-a033-a0a8eefe4c9b" providerId="ADAL" clId="{419BEFAD-9512-4473-AE30-E3A881A2A823}" dt="2023-08-08T04:00:28.655" v="97" actId="1036"/>
          <ac:spMkLst>
            <pc:docMk/>
            <pc:sldMk cId="720054150" sldId="2147472241"/>
            <ac:spMk id="12" creationId="{642710AD-08E3-4DE4-97D3-7E826E9730FD}"/>
          </ac:spMkLst>
        </pc:spChg>
        <pc:spChg chg="add mod">
          <ac:chgData name="Alvillar, Jerry" userId="f6f4cae8-2a2b-4f03-a033-a0a8eefe4c9b" providerId="ADAL" clId="{419BEFAD-9512-4473-AE30-E3A881A2A823}" dt="2023-08-08T04:01:46.572" v="152"/>
          <ac:spMkLst>
            <pc:docMk/>
            <pc:sldMk cId="720054150" sldId="2147472241"/>
            <ac:spMk id="13" creationId="{F500495F-5572-4CFF-AC4D-F625124BFFCD}"/>
          </ac:spMkLst>
        </pc:spChg>
        <pc:picChg chg="mod">
          <ac:chgData name="Alvillar, Jerry" userId="f6f4cae8-2a2b-4f03-a033-a0a8eefe4c9b" providerId="ADAL" clId="{419BEFAD-9512-4473-AE30-E3A881A2A823}" dt="2023-08-08T04:00:28.655" v="97" actId="1036"/>
          <ac:picMkLst>
            <pc:docMk/>
            <pc:sldMk cId="720054150" sldId="2147472241"/>
            <ac:picMk id="5" creationId="{3E5F2748-4B86-4358-A5D3-C7B7797973B0}"/>
          </ac:picMkLst>
        </pc:picChg>
        <pc:picChg chg="ord">
          <ac:chgData name="Alvillar, Jerry" userId="f6f4cae8-2a2b-4f03-a033-a0a8eefe4c9b" providerId="ADAL" clId="{419BEFAD-9512-4473-AE30-E3A881A2A823}" dt="2023-08-08T04:00:36.311" v="98" actId="167"/>
          <ac:picMkLst>
            <pc:docMk/>
            <pc:sldMk cId="720054150" sldId="2147472241"/>
            <ac:picMk id="16" creationId="{5B19504B-A4A9-4916-9211-D835AB18231A}"/>
          </ac:picMkLst>
        </pc:picChg>
        <pc:cxnChg chg="mod">
          <ac:chgData name="Alvillar, Jerry" userId="f6f4cae8-2a2b-4f03-a033-a0a8eefe4c9b" providerId="ADAL" clId="{419BEFAD-9512-4473-AE30-E3A881A2A823}" dt="2023-08-08T04:00:28.655" v="97" actId="1036"/>
          <ac:cxnSpMkLst>
            <pc:docMk/>
            <pc:sldMk cId="720054150" sldId="2147472241"/>
            <ac:cxnSpMk id="8" creationId="{8ACD2348-1B5E-4237-9210-5E707F13F080}"/>
          </ac:cxnSpMkLst>
        </pc:cxnChg>
        <pc:cxnChg chg="mod">
          <ac:chgData name="Alvillar, Jerry" userId="f6f4cae8-2a2b-4f03-a033-a0a8eefe4c9b" providerId="ADAL" clId="{419BEFAD-9512-4473-AE30-E3A881A2A823}" dt="2023-08-08T04:00:28.655" v="97" actId="1036"/>
          <ac:cxnSpMkLst>
            <pc:docMk/>
            <pc:sldMk cId="720054150" sldId="2147472241"/>
            <ac:cxnSpMk id="14" creationId="{33421BEC-017A-400E-914C-ED3B84A9C219}"/>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5D_5E725065.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5D_5E725065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1C8771-E736-4A67-AB4B-F04B7D7A9B87}" type="doc">
      <dgm:prSet loTypeId="urn:microsoft.com/office/officeart/2017/3/layout/DropPinTimeline" loCatId="process" qsTypeId="urn:microsoft.com/office/officeart/2005/8/quickstyle/simple2" qsCatId="simple" csTypeId="urn:microsoft.com/office/officeart/2005/8/colors/accent1_2" csCatId="accent1" phldr="1"/>
      <dgm:spPr/>
      <dgm:t>
        <a:bodyPr/>
        <a:lstStyle/>
        <a:p>
          <a:endParaRPr lang="en-US"/>
        </a:p>
      </dgm:t>
    </dgm:pt>
    <dgm:pt modelId="{9C31551E-C06D-48A3-87A5-9D4943806F1D}">
      <dgm:prSet/>
      <dgm:spPr/>
      <dgm:t>
        <a:bodyPr/>
        <a:lstStyle/>
        <a:p>
          <a:pPr rtl="0">
            <a:defRPr b="1"/>
          </a:pPr>
          <a:r>
            <a:rPr lang="en-US">
              <a:latin typeface="Arial" panose="020B0604020202020204"/>
            </a:rPr>
            <a:t>Jun </a:t>
          </a:r>
          <a:r>
            <a:rPr lang="en-US"/>
            <a:t>–</a:t>
          </a:r>
          <a:r>
            <a:rPr lang="en-US">
              <a:latin typeface="Arial" panose="020B0604020202020204"/>
            </a:rPr>
            <a:t> Jul</a:t>
          </a:r>
          <a:endParaRPr lang="en-US"/>
        </a:p>
      </dgm:t>
    </dgm:pt>
    <dgm:pt modelId="{A0E6CA99-FCC8-43BD-8963-201513943DE3}" type="parTrans" cxnId="{B5A4A4BF-0218-4E9C-A1CB-F06250BFE8D8}">
      <dgm:prSet/>
      <dgm:spPr/>
      <dgm:t>
        <a:bodyPr/>
        <a:lstStyle/>
        <a:p>
          <a:endParaRPr lang="en-US"/>
        </a:p>
      </dgm:t>
    </dgm:pt>
    <dgm:pt modelId="{D25C2EA5-507C-436B-9134-4D51B78D7058}" type="sibTrans" cxnId="{B5A4A4BF-0218-4E9C-A1CB-F06250BFE8D8}">
      <dgm:prSet/>
      <dgm:spPr/>
      <dgm:t>
        <a:bodyPr/>
        <a:lstStyle/>
        <a:p>
          <a:endParaRPr lang="en-US"/>
        </a:p>
      </dgm:t>
    </dgm:pt>
    <dgm:pt modelId="{917FD05A-BECD-48F7-996F-2D96DEE1029C}">
      <dgm:prSet/>
      <dgm:spPr/>
      <dgm:t>
        <a:bodyPr/>
        <a:lstStyle/>
        <a:p>
          <a:r>
            <a:rPr lang="en-US"/>
            <a:t>Tail gate meetings</a:t>
          </a:r>
          <a:r>
            <a:rPr lang="en-US">
              <a:latin typeface="Arial" panose="020B0604020202020204"/>
            </a:rPr>
            <a:t> </a:t>
          </a:r>
        </a:p>
      </dgm:t>
    </dgm:pt>
    <dgm:pt modelId="{F3D777E0-2B6C-463C-BEF8-88D10D453592}" type="parTrans" cxnId="{B6CD6E97-3570-474E-AF60-F8DE03F5E1F8}">
      <dgm:prSet/>
      <dgm:spPr/>
      <dgm:t>
        <a:bodyPr/>
        <a:lstStyle/>
        <a:p>
          <a:endParaRPr lang="en-US"/>
        </a:p>
      </dgm:t>
    </dgm:pt>
    <dgm:pt modelId="{B9D626DF-185B-46FA-893D-0B969C64C40C}" type="sibTrans" cxnId="{B6CD6E97-3570-474E-AF60-F8DE03F5E1F8}">
      <dgm:prSet/>
      <dgm:spPr/>
      <dgm:t>
        <a:bodyPr/>
        <a:lstStyle/>
        <a:p>
          <a:endParaRPr lang="en-US"/>
        </a:p>
      </dgm:t>
    </dgm:pt>
    <dgm:pt modelId="{45714A28-7870-40FD-9A69-27C20C4D7308}">
      <dgm:prSet/>
      <dgm:spPr/>
      <dgm:t>
        <a:bodyPr/>
        <a:lstStyle/>
        <a:p>
          <a:r>
            <a:rPr lang="en-US" b="0">
              <a:latin typeface="Arial" panose="020B0604020202020204"/>
            </a:rPr>
            <a:t>Workplace</a:t>
          </a:r>
          <a:r>
            <a:rPr lang="en-US" b="0"/>
            <a:t> Exams</a:t>
          </a:r>
        </a:p>
      </dgm:t>
    </dgm:pt>
    <dgm:pt modelId="{C3CB5105-55F7-4513-B4E6-AC2F3CA7A5B2}" type="parTrans" cxnId="{FF18A825-F378-4DFB-80CF-59D54732AE18}">
      <dgm:prSet/>
      <dgm:spPr/>
      <dgm:t>
        <a:bodyPr/>
        <a:lstStyle/>
        <a:p>
          <a:endParaRPr lang="en-US"/>
        </a:p>
      </dgm:t>
    </dgm:pt>
    <dgm:pt modelId="{1FC7E4C3-8990-4895-B70D-44BC9472097B}" type="sibTrans" cxnId="{FF18A825-F378-4DFB-80CF-59D54732AE18}">
      <dgm:prSet/>
      <dgm:spPr/>
      <dgm:t>
        <a:bodyPr/>
        <a:lstStyle/>
        <a:p>
          <a:endParaRPr lang="en-US"/>
        </a:p>
      </dgm:t>
    </dgm:pt>
    <dgm:pt modelId="{EFCC6918-1A18-4808-9E37-3FF76E45AB2C}">
      <dgm:prSet phldr="0"/>
      <dgm:spPr/>
      <dgm:t>
        <a:bodyPr/>
        <a:lstStyle/>
        <a:p>
          <a:pPr rtl="0">
            <a:defRPr b="1"/>
          </a:pPr>
          <a:r>
            <a:rPr lang="en-US" b="1"/>
            <a:t>Aug</a:t>
          </a:r>
          <a:r>
            <a:rPr lang="en-US" b="1">
              <a:latin typeface="Arial" panose="020B0604020202020204"/>
            </a:rPr>
            <a:t> – </a:t>
          </a:r>
          <a:r>
            <a:rPr lang="en-US" b="1"/>
            <a:t>Sep</a:t>
          </a:r>
        </a:p>
      </dgm:t>
    </dgm:pt>
    <dgm:pt modelId="{08CB36BE-F667-494C-B68B-FE38AFAAD633}" type="parTrans" cxnId="{1CB01120-86D1-4F1B-A0DF-BE87E0CA330C}">
      <dgm:prSet/>
      <dgm:spPr/>
    </dgm:pt>
    <dgm:pt modelId="{73CDC741-EA61-45DE-A980-F81E553C549C}" type="sibTrans" cxnId="{1CB01120-86D1-4F1B-A0DF-BE87E0CA330C}">
      <dgm:prSet/>
      <dgm:spPr/>
    </dgm:pt>
    <dgm:pt modelId="{ED947920-9D5F-4865-A0BD-CFAC076C0EE9}">
      <dgm:prSet phldr="0"/>
      <dgm:spPr/>
      <dgm:t>
        <a:bodyPr/>
        <a:lstStyle/>
        <a:p>
          <a:pPr>
            <a:defRPr b="1"/>
          </a:pPr>
          <a:r>
            <a:rPr lang="en-US" b="0">
              <a:latin typeface="Arial" panose="020B0604020202020204"/>
            </a:rPr>
            <a:t>Oct – Nov</a:t>
          </a:r>
        </a:p>
      </dgm:t>
    </dgm:pt>
    <dgm:pt modelId="{D8CB6A9D-6EFC-49EF-BD99-C0E77DA46B14}" type="parTrans" cxnId="{1988692E-BE11-42CC-82F3-1125E991A0DF}">
      <dgm:prSet/>
      <dgm:spPr/>
    </dgm:pt>
    <dgm:pt modelId="{B2DD594F-6EB3-4782-A7AC-6FD1FDA1B17F}" type="sibTrans" cxnId="{1988692E-BE11-42CC-82F3-1125E991A0DF}">
      <dgm:prSet/>
      <dgm:spPr/>
    </dgm:pt>
    <dgm:pt modelId="{2A9AB616-94D7-4344-B6DB-A8BE00C7F67A}">
      <dgm:prSet phldr="0"/>
      <dgm:spPr/>
      <dgm:t>
        <a:bodyPr/>
        <a:lstStyle/>
        <a:p>
          <a:r>
            <a:rPr lang="en-US" b="0">
              <a:latin typeface="Arial" panose="020B0604020202020204"/>
            </a:rPr>
            <a:t>JRAs</a:t>
          </a:r>
          <a:endParaRPr lang="en-US" b="0"/>
        </a:p>
      </dgm:t>
    </dgm:pt>
    <dgm:pt modelId="{054A2C35-5B43-4293-9AE2-A9D806AAE32B}" type="parTrans" cxnId="{49335EF7-B112-413B-9431-09BEFA4C959D}">
      <dgm:prSet/>
      <dgm:spPr/>
    </dgm:pt>
    <dgm:pt modelId="{A84FDF03-9A6E-481C-A75B-518DC2CA2CA1}" type="sibTrans" cxnId="{49335EF7-B112-413B-9431-09BEFA4C959D}">
      <dgm:prSet/>
      <dgm:spPr/>
    </dgm:pt>
    <dgm:pt modelId="{1F25CCA1-E8FD-45FE-9995-420A2A248154}" type="pres">
      <dgm:prSet presAssocID="{511C8771-E736-4A67-AB4B-F04B7D7A9B87}" presName="root" presStyleCnt="0">
        <dgm:presLayoutVars>
          <dgm:chMax/>
          <dgm:chPref/>
          <dgm:animLvl val="lvl"/>
        </dgm:presLayoutVars>
      </dgm:prSet>
      <dgm:spPr/>
    </dgm:pt>
    <dgm:pt modelId="{467326AC-EC83-4B73-A6EA-119251D76502}" type="pres">
      <dgm:prSet presAssocID="{511C8771-E736-4A67-AB4B-F04B7D7A9B87}" presName="divider" presStyleLbl="fgAcc1" presStyleIdx="0" presStyleCnt="4"/>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C6732520-6779-44DF-8A2C-076B9D2B18CC}" type="pres">
      <dgm:prSet presAssocID="{511C8771-E736-4A67-AB4B-F04B7D7A9B87}" presName="nodes" presStyleCnt="0">
        <dgm:presLayoutVars>
          <dgm:chMax/>
          <dgm:chPref/>
          <dgm:animLvl val="lvl"/>
        </dgm:presLayoutVars>
      </dgm:prSet>
      <dgm:spPr/>
    </dgm:pt>
    <dgm:pt modelId="{67EF1432-2270-4E43-9DB2-BE3077118581}" type="pres">
      <dgm:prSet presAssocID="{9C31551E-C06D-48A3-87A5-9D4943806F1D}" presName="composite" presStyleCnt="0"/>
      <dgm:spPr/>
    </dgm:pt>
    <dgm:pt modelId="{C6D66703-C238-4C6B-9CF6-419A928896D9}" type="pres">
      <dgm:prSet presAssocID="{9C31551E-C06D-48A3-87A5-9D4943806F1D}" presName="ConnectorPoint" presStyleLbl="lnNode1" presStyleIdx="0"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E92D0976-51EA-4B30-8B34-4363D3F6F951}" type="pres">
      <dgm:prSet presAssocID="{9C31551E-C06D-48A3-87A5-9D4943806F1D}" presName="DropPinPlaceHolder" presStyleCnt="0"/>
      <dgm:spPr/>
    </dgm:pt>
    <dgm:pt modelId="{C52015C6-045C-4741-9CA2-1E8AE446C24E}" type="pres">
      <dgm:prSet presAssocID="{9C31551E-C06D-48A3-87A5-9D4943806F1D}" presName="DropPin" presStyleLbl="alignNode1" presStyleIdx="0" presStyleCnt="3"/>
      <dgm:spPr/>
    </dgm:pt>
    <dgm:pt modelId="{2E58B000-E188-4B7F-8B70-B65FAEFBF0B5}" type="pres">
      <dgm:prSet presAssocID="{9C31551E-C06D-48A3-87A5-9D4943806F1D}" presName="Ellipse" presStyleLbl="fgAcc1" presStyleIdx="1" presStyleCnt="4"/>
      <dgm:spPr>
        <a:solidFill>
          <a:schemeClr val="lt1">
            <a:alpha val="90000"/>
            <a:hueOff val="0"/>
            <a:satOff val="0"/>
            <a:lumOff val="0"/>
            <a:alphaOff val="0"/>
          </a:schemeClr>
        </a:solidFill>
        <a:ln w="12700" cap="flat" cmpd="sng" algn="ctr">
          <a:noFill/>
          <a:prstDash val="solid"/>
          <a:miter lim="800000"/>
        </a:ln>
        <a:effectLst/>
      </dgm:spPr>
    </dgm:pt>
    <dgm:pt modelId="{47EDDE69-64B0-47FA-98F1-E3ABA9DE0A4D}" type="pres">
      <dgm:prSet presAssocID="{9C31551E-C06D-48A3-87A5-9D4943806F1D}" presName="L2TextContainer" presStyleLbl="revTx" presStyleIdx="0" presStyleCnt="6">
        <dgm:presLayoutVars>
          <dgm:bulletEnabled val="1"/>
        </dgm:presLayoutVars>
      </dgm:prSet>
      <dgm:spPr/>
    </dgm:pt>
    <dgm:pt modelId="{265CF8BC-BCF3-43B8-BD48-DDBCC4020465}" type="pres">
      <dgm:prSet presAssocID="{9C31551E-C06D-48A3-87A5-9D4943806F1D}" presName="L1TextContainer" presStyleLbl="revTx" presStyleIdx="1" presStyleCnt="6">
        <dgm:presLayoutVars>
          <dgm:chMax val="1"/>
          <dgm:chPref val="1"/>
          <dgm:bulletEnabled val="1"/>
        </dgm:presLayoutVars>
      </dgm:prSet>
      <dgm:spPr/>
    </dgm:pt>
    <dgm:pt modelId="{DADA61DF-6E9F-45BF-9520-748295CC9E8E}" type="pres">
      <dgm:prSet presAssocID="{9C31551E-C06D-48A3-87A5-9D4943806F1D}" presName="ConnectLine" presStyleLbl="sibTrans1D1" presStyleIdx="0" presStyleCnt="3"/>
      <dgm:spPr>
        <a:noFill/>
        <a:ln w="12700" cap="flat" cmpd="sng" algn="ctr">
          <a:solidFill>
            <a:schemeClr val="accent1">
              <a:hueOff val="0"/>
              <a:satOff val="0"/>
              <a:lumOff val="0"/>
              <a:alphaOff val="0"/>
            </a:schemeClr>
          </a:solidFill>
          <a:prstDash val="dash"/>
          <a:miter lim="800000"/>
        </a:ln>
        <a:effectLst/>
      </dgm:spPr>
    </dgm:pt>
    <dgm:pt modelId="{D7B5561A-784E-4C7F-9700-8AE943FFDECA}" type="pres">
      <dgm:prSet presAssocID="{9C31551E-C06D-48A3-87A5-9D4943806F1D}" presName="EmptyPlaceHolder" presStyleCnt="0"/>
      <dgm:spPr/>
    </dgm:pt>
    <dgm:pt modelId="{BE8289C2-1955-4DFA-BF3A-235C3E7AC4DC}" type="pres">
      <dgm:prSet presAssocID="{D25C2EA5-507C-436B-9134-4D51B78D7058}" presName="spaceBetweenRectangles" presStyleCnt="0"/>
      <dgm:spPr/>
    </dgm:pt>
    <dgm:pt modelId="{83595D1B-7482-4171-97A1-156B3536570D}" type="pres">
      <dgm:prSet presAssocID="{EFCC6918-1A18-4808-9E37-3FF76E45AB2C}" presName="composite" presStyleCnt="0"/>
      <dgm:spPr/>
    </dgm:pt>
    <dgm:pt modelId="{8763A379-D9C2-44B9-937A-BCF0CD20024A}" type="pres">
      <dgm:prSet presAssocID="{EFCC6918-1A18-4808-9E37-3FF76E45AB2C}" presName="ConnectorPoint" presStyleLbl="lnNode1" presStyleIdx="1"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CB29B42-BF87-4618-AEF2-4826EC33353F}" type="pres">
      <dgm:prSet presAssocID="{EFCC6918-1A18-4808-9E37-3FF76E45AB2C}" presName="DropPinPlaceHolder" presStyleCnt="0"/>
      <dgm:spPr/>
    </dgm:pt>
    <dgm:pt modelId="{CCF48683-1E14-4047-B94E-0295A5C03C12}" type="pres">
      <dgm:prSet presAssocID="{EFCC6918-1A18-4808-9E37-3FF76E45AB2C}" presName="DropPin" presStyleLbl="alignNode1" presStyleIdx="1" presStyleCnt="3"/>
      <dgm:spPr/>
    </dgm:pt>
    <dgm:pt modelId="{D8789334-8628-4E0C-9BB1-F4C44225D4C7}" type="pres">
      <dgm:prSet presAssocID="{EFCC6918-1A18-4808-9E37-3FF76E45AB2C}" presName="Ellipse" presStyleLbl="fgAcc1" presStyleIdx="2" presStyleCnt="4"/>
      <dgm:spPr>
        <a:solidFill>
          <a:schemeClr val="lt1">
            <a:alpha val="90000"/>
            <a:hueOff val="0"/>
            <a:satOff val="0"/>
            <a:lumOff val="0"/>
            <a:alphaOff val="0"/>
          </a:schemeClr>
        </a:solidFill>
        <a:ln w="12700" cap="flat" cmpd="sng" algn="ctr">
          <a:noFill/>
          <a:prstDash val="solid"/>
          <a:miter lim="800000"/>
        </a:ln>
        <a:effectLst/>
      </dgm:spPr>
    </dgm:pt>
    <dgm:pt modelId="{6F6799FA-03A4-452C-904D-C80ACD142AC4}" type="pres">
      <dgm:prSet presAssocID="{EFCC6918-1A18-4808-9E37-3FF76E45AB2C}" presName="L2TextContainer" presStyleLbl="revTx" presStyleIdx="2" presStyleCnt="6">
        <dgm:presLayoutVars>
          <dgm:bulletEnabled val="1"/>
        </dgm:presLayoutVars>
      </dgm:prSet>
      <dgm:spPr/>
    </dgm:pt>
    <dgm:pt modelId="{CF595353-D0C6-4C10-B14D-0829EA309AB2}" type="pres">
      <dgm:prSet presAssocID="{EFCC6918-1A18-4808-9E37-3FF76E45AB2C}" presName="L1TextContainer" presStyleLbl="revTx" presStyleIdx="3" presStyleCnt="6">
        <dgm:presLayoutVars>
          <dgm:chMax val="1"/>
          <dgm:chPref val="1"/>
          <dgm:bulletEnabled val="1"/>
        </dgm:presLayoutVars>
      </dgm:prSet>
      <dgm:spPr/>
    </dgm:pt>
    <dgm:pt modelId="{5D8604F3-C2C5-4D6A-98B5-D60174218AD6}" type="pres">
      <dgm:prSet presAssocID="{EFCC6918-1A18-4808-9E37-3FF76E45AB2C}" presName="ConnectLine" presStyleLbl="sibTrans1D1" presStyleIdx="1" presStyleCnt="3"/>
      <dgm:spPr>
        <a:noFill/>
        <a:ln w="12700" cap="flat" cmpd="sng" algn="ctr">
          <a:solidFill>
            <a:schemeClr val="accent1">
              <a:hueOff val="0"/>
              <a:satOff val="0"/>
              <a:lumOff val="0"/>
              <a:alphaOff val="0"/>
            </a:schemeClr>
          </a:solidFill>
          <a:prstDash val="dash"/>
          <a:miter lim="800000"/>
        </a:ln>
        <a:effectLst/>
      </dgm:spPr>
    </dgm:pt>
    <dgm:pt modelId="{7E8C450A-DA2C-41CA-9400-538FDE1D7B0C}" type="pres">
      <dgm:prSet presAssocID="{EFCC6918-1A18-4808-9E37-3FF76E45AB2C}" presName="EmptyPlaceHolder" presStyleCnt="0"/>
      <dgm:spPr/>
    </dgm:pt>
    <dgm:pt modelId="{DE65524E-1348-4A27-9991-AD6E04F72D0C}" type="pres">
      <dgm:prSet presAssocID="{73CDC741-EA61-45DE-A980-F81E553C549C}" presName="spaceBetweenRectangles" presStyleCnt="0"/>
      <dgm:spPr/>
    </dgm:pt>
    <dgm:pt modelId="{171CC440-C253-4426-89F8-35D965A8C232}" type="pres">
      <dgm:prSet presAssocID="{ED947920-9D5F-4865-A0BD-CFAC076C0EE9}" presName="composite" presStyleCnt="0"/>
      <dgm:spPr/>
    </dgm:pt>
    <dgm:pt modelId="{8C3E728A-E61D-46AB-A655-B1D1FD94563A}" type="pres">
      <dgm:prSet presAssocID="{ED947920-9D5F-4865-A0BD-CFAC076C0EE9}" presName="ConnectorPoint" presStyleLbl="lnNode1" presStyleIdx="2"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969E78F9-5C55-4E65-A719-7F53127B6D14}" type="pres">
      <dgm:prSet presAssocID="{ED947920-9D5F-4865-A0BD-CFAC076C0EE9}" presName="DropPinPlaceHolder" presStyleCnt="0"/>
      <dgm:spPr/>
    </dgm:pt>
    <dgm:pt modelId="{BEF65DA8-59C6-4B60-B80C-9D0B1D08FEA3}" type="pres">
      <dgm:prSet presAssocID="{ED947920-9D5F-4865-A0BD-CFAC076C0EE9}" presName="DropPin" presStyleLbl="alignNode1" presStyleIdx="2" presStyleCnt="3"/>
      <dgm:spPr/>
    </dgm:pt>
    <dgm:pt modelId="{C76036F7-FF1E-46B5-838B-0D689830DC5E}" type="pres">
      <dgm:prSet presAssocID="{ED947920-9D5F-4865-A0BD-CFAC076C0EE9}" presName="Ellipse" presStyleLbl="fgAcc1" presStyleIdx="3" presStyleCnt="4"/>
      <dgm:spPr>
        <a:solidFill>
          <a:schemeClr val="lt1">
            <a:alpha val="90000"/>
            <a:hueOff val="0"/>
            <a:satOff val="0"/>
            <a:lumOff val="0"/>
            <a:alphaOff val="0"/>
          </a:schemeClr>
        </a:solidFill>
        <a:ln w="12700" cap="flat" cmpd="sng" algn="ctr">
          <a:noFill/>
          <a:prstDash val="solid"/>
          <a:miter lim="800000"/>
        </a:ln>
        <a:effectLst/>
      </dgm:spPr>
    </dgm:pt>
    <dgm:pt modelId="{3DD90646-0A91-4E5F-A0FA-A5C03EB8A48F}" type="pres">
      <dgm:prSet presAssocID="{ED947920-9D5F-4865-A0BD-CFAC076C0EE9}" presName="L2TextContainer" presStyleLbl="revTx" presStyleIdx="4" presStyleCnt="6">
        <dgm:presLayoutVars>
          <dgm:bulletEnabled val="1"/>
        </dgm:presLayoutVars>
      </dgm:prSet>
      <dgm:spPr/>
    </dgm:pt>
    <dgm:pt modelId="{E355F851-A526-4ED7-9847-F50F43F84082}" type="pres">
      <dgm:prSet presAssocID="{ED947920-9D5F-4865-A0BD-CFAC076C0EE9}" presName="L1TextContainer" presStyleLbl="revTx" presStyleIdx="5" presStyleCnt="6">
        <dgm:presLayoutVars>
          <dgm:chMax val="1"/>
          <dgm:chPref val="1"/>
          <dgm:bulletEnabled val="1"/>
        </dgm:presLayoutVars>
      </dgm:prSet>
      <dgm:spPr/>
    </dgm:pt>
    <dgm:pt modelId="{2DCC2DC0-00B5-4C8C-8975-0B9617DB738E}" type="pres">
      <dgm:prSet presAssocID="{ED947920-9D5F-4865-A0BD-CFAC076C0EE9}" presName="ConnectLine" presStyleLbl="sibTrans1D1" presStyleIdx="2" presStyleCnt="3"/>
      <dgm:spPr>
        <a:noFill/>
        <a:ln w="12700" cap="flat" cmpd="sng" algn="ctr">
          <a:solidFill>
            <a:schemeClr val="accent1">
              <a:hueOff val="0"/>
              <a:satOff val="0"/>
              <a:lumOff val="0"/>
              <a:alphaOff val="0"/>
            </a:schemeClr>
          </a:solidFill>
          <a:prstDash val="dash"/>
          <a:miter lim="800000"/>
        </a:ln>
        <a:effectLst/>
      </dgm:spPr>
    </dgm:pt>
    <dgm:pt modelId="{9E56B1DE-1B6B-4E9A-83DD-EAC2AB6225E0}" type="pres">
      <dgm:prSet presAssocID="{ED947920-9D5F-4865-A0BD-CFAC076C0EE9}" presName="EmptyPlaceHolder" presStyleCnt="0"/>
      <dgm:spPr/>
    </dgm:pt>
  </dgm:ptLst>
  <dgm:cxnLst>
    <dgm:cxn modelId="{A569C111-B198-46D8-9F50-9346117CD395}" type="presOf" srcId="{2A9AB616-94D7-4344-B6DB-A8BE00C7F67A}" destId="{3DD90646-0A91-4E5F-A0FA-A5C03EB8A48F}" srcOrd="0" destOrd="0" presId="urn:microsoft.com/office/officeart/2017/3/layout/DropPinTimeline"/>
    <dgm:cxn modelId="{1CB01120-86D1-4F1B-A0DF-BE87E0CA330C}" srcId="{511C8771-E736-4A67-AB4B-F04B7D7A9B87}" destId="{EFCC6918-1A18-4808-9E37-3FF76E45AB2C}" srcOrd="1" destOrd="0" parTransId="{08CB36BE-F667-494C-B68B-FE38AFAAD633}" sibTransId="{73CDC741-EA61-45DE-A980-F81E553C549C}"/>
    <dgm:cxn modelId="{FF18A825-F378-4DFB-80CF-59D54732AE18}" srcId="{EFCC6918-1A18-4808-9E37-3FF76E45AB2C}" destId="{45714A28-7870-40FD-9A69-27C20C4D7308}" srcOrd="0" destOrd="0" parTransId="{C3CB5105-55F7-4513-B4E6-AC2F3CA7A5B2}" sibTransId="{1FC7E4C3-8990-4895-B70D-44BC9472097B}"/>
    <dgm:cxn modelId="{9C1B4328-828E-4967-AD15-0E12A2C4896F}" type="presOf" srcId="{917FD05A-BECD-48F7-996F-2D96DEE1029C}" destId="{47EDDE69-64B0-47FA-98F1-E3ABA9DE0A4D}" srcOrd="0" destOrd="0" presId="urn:microsoft.com/office/officeart/2017/3/layout/DropPinTimeline"/>
    <dgm:cxn modelId="{1988692E-BE11-42CC-82F3-1125E991A0DF}" srcId="{511C8771-E736-4A67-AB4B-F04B7D7A9B87}" destId="{ED947920-9D5F-4865-A0BD-CFAC076C0EE9}" srcOrd="2" destOrd="0" parTransId="{D8CB6A9D-6EFC-49EF-BD99-C0E77DA46B14}" sibTransId="{B2DD594F-6EB3-4782-A7AC-6FD1FDA1B17F}"/>
    <dgm:cxn modelId="{7C01743C-38E8-452B-A111-323C423A12B4}" type="presOf" srcId="{45714A28-7870-40FD-9A69-27C20C4D7308}" destId="{6F6799FA-03A4-452C-904D-C80ACD142AC4}" srcOrd="0" destOrd="0" presId="urn:microsoft.com/office/officeart/2017/3/layout/DropPinTimeline"/>
    <dgm:cxn modelId="{2FE15E71-DBAC-446C-9006-9C4ED0FEEB00}" type="presOf" srcId="{EFCC6918-1A18-4808-9E37-3FF76E45AB2C}" destId="{CF595353-D0C6-4C10-B14D-0829EA309AB2}" srcOrd="0" destOrd="0" presId="urn:microsoft.com/office/officeart/2017/3/layout/DropPinTimeline"/>
    <dgm:cxn modelId="{B6CD6E97-3570-474E-AF60-F8DE03F5E1F8}" srcId="{9C31551E-C06D-48A3-87A5-9D4943806F1D}" destId="{917FD05A-BECD-48F7-996F-2D96DEE1029C}" srcOrd="0" destOrd="0" parTransId="{F3D777E0-2B6C-463C-BEF8-88D10D453592}" sibTransId="{B9D626DF-185B-46FA-893D-0B969C64C40C}"/>
    <dgm:cxn modelId="{0DFCD199-ED02-4181-B23A-F1695FF23643}" type="presOf" srcId="{9C31551E-C06D-48A3-87A5-9D4943806F1D}" destId="{265CF8BC-BCF3-43B8-BD48-DDBCC4020465}" srcOrd="0" destOrd="0" presId="urn:microsoft.com/office/officeart/2017/3/layout/DropPinTimeline"/>
    <dgm:cxn modelId="{959E60A7-D839-49B2-BF4E-C6F56AD17544}" type="presOf" srcId="{511C8771-E736-4A67-AB4B-F04B7D7A9B87}" destId="{1F25CCA1-E8FD-45FE-9995-420A2A248154}" srcOrd="0" destOrd="0" presId="urn:microsoft.com/office/officeart/2017/3/layout/DropPinTimeline"/>
    <dgm:cxn modelId="{B5A4A4BF-0218-4E9C-A1CB-F06250BFE8D8}" srcId="{511C8771-E736-4A67-AB4B-F04B7D7A9B87}" destId="{9C31551E-C06D-48A3-87A5-9D4943806F1D}" srcOrd="0" destOrd="0" parTransId="{A0E6CA99-FCC8-43BD-8963-201513943DE3}" sibTransId="{D25C2EA5-507C-436B-9134-4D51B78D7058}"/>
    <dgm:cxn modelId="{85FE47EE-CC12-4CD3-876D-41EAB7E0F1D9}" type="presOf" srcId="{ED947920-9D5F-4865-A0BD-CFAC076C0EE9}" destId="{E355F851-A526-4ED7-9847-F50F43F84082}" srcOrd="0" destOrd="0" presId="urn:microsoft.com/office/officeart/2017/3/layout/DropPinTimeline"/>
    <dgm:cxn modelId="{49335EF7-B112-413B-9431-09BEFA4C959D}" srcId="{ED947920-9D5F-4865-A0BD-CFAC076C0EE9}" destId="{2A9AB616-94D7-4344-B6DB-A8BE00C7F67A}" srcOrd="0" destOrd="0" parTransId="{054A2C35-5B43-4293-9AE2-A9D806AAE32B}" sibTransId="{A84FDF03-9A6E-481C-A75B-518DC2CA2CA1}"/>
    <dgm:cxn modelId="{55587565-34D9-4F88-85C6-AB3CAF6E9273}" type="presParOf" srcId="{1F25CCA1-E8FD-45FE-9995-420A2A248154}" destId="{467326AC-EC83-4B73-A6EA-119251D76502}" srcOrd="0" destOrd="0" presId="urn:microsoft.com/office/officeart/2017/3/layout/DropPinTimeline"/>
    <dgm:cxn modelId="{FBDCA08A-8F07-4581-86BA-30AAB860E907}" type="presParOf" srcId="{1F25CCA1-E8FD-45FE-9995-420A2A248154}" destId="{C6732520-6779-44DF-8A2C-076B9D2B18CC}" srcOrd="1" destOrd="0" presId="urn:microsoft.com/office/officeart/2017/3/layout/DropPinTimeline"/>
    <dgm:cxn modelId="{74080AEA-7925-439A-9EBE-CADF11EBA6F8}" type="presParOf" srcId="{C6732520-6779-44DF-8A2C-076B9D2B18CC}" destId="{67EF1432-2270-4E43-9DB2-BE3077118581}" srcOrd="0" destOrd="0" presId="urn:microsoft.com/office/officeart/2017/3/layout/DropPinTimeline"/>
    <dgm:cxn modelId="{B6A21B3E-C341-4FF0-B480-7E8FA62F9154}" type="presParOf" srcId="{67EF1432-2270-4E43-9DB2-BE3077118581}" destId="{C6D66703-C238-4C6B-9CF6-419A928896D9}" srcOrd="0" destOrd="0" presId="urn:microsoft.com/office/officeart/2017/3/layout/DropPinTimeline"/>
    <dgm:cxn modelId="{D5343892-DD27-4584-99BD-69EDF82F7A0B}" type="presParOf" srcId="{67EF1432-2270-4E43-9DB2-BE3077118581}" destId="{E92D0976-51EA-4B30-8B34-4363D3F6F951}" srcOrd="1" destOrd="0" presId="urn:microsoft.com/office/officeart/2017/3/layout/DropPinTimeline"/>
    <dgm:cxn modelId="{FD3A7752-1BD5-40B1-B551-891925229018}" type="presParOf" srcId="{E92D0976-51EA-4B30-8B34-4363D3F6F951}" destId="{C52015C6-045C-4741-9CA2-1E8AE446C24E}" srcOrd="0" destOrd="0" presId="urn:microsoft.com/office/officeart/2017/3/layout/DropPinTimeline"/>
    <dgm:cxn modelId="{F87365A6-0A6C-4893-BD99-9374FFF6CF0E}" type="presParOf" srcId="{E92D0976-51EA-4B30-8B34-4363D3F6F951}" destId="{2E58B000-E188-4B7F-8B70-B65FAEFBF0B5}" srcOrd="1" destOrd="0" presId="urn:microsoft.com/office/officeart/2017/3/layout/DropPinTimeline"/>
    <dgm:cxn modelId="{A1B830B4-7B5A-428A-B5ED-CFFB155258DC}" type="presParOf" srcId="{67EF1432-2270-4E43-9DB2-BE3077118581}" destId="{47EDDE69-64B0-47FA-98F1-E3ABA9DE0A4D}" srcOrd="2" destOrd="0" presId="urn:microsoft.com/office/officeart/2017/3/layout/DropPinTimeline"/>
    <dgm:cxn modelId="{55BF7DC6-5888-4A1A-894F-FF4A34BE8AA4}" type="presParOf" srcId="{67EF1432-2270-4E43-9DB2-BE3077118581}" destId="{265CF8BC-BCF3-43B8-BD48-DDBCC4020465}" srcOrd="3" destOrd="0" presId="urn:microsoft.com/office/officeart/2017/3/layout/DropPinTimeline"/>
    <dgm:cxn modelId="{0E2627B5-E7A1-4DD6-8876-1D4701385EBB}" type="presParOf" srcId="{67EF1432-2270-4E43-9DB2-BE3077118581}" destId="{DADA61DF-6E9F-45BF-9520-748295CC9E8E}" srcOrd="4" destOrd="0" presId="urn:microsoft.com/office/officeart/2017/3/layout/DropPinTimeline"/>
    <dgm:cxn modelId="{513B949A-2A7E-44B9-AD2A-4FED92346E82}" type="presParOf" srcId="{67EF1432-2270-4E43-9DB2-BE3077118581}" destId="{D7B5561A-784E-4C7F-9700-8AE943FFDECA}" srcOrd="5" destOrd="0" presId="urn:microsoft.com/office/officeart/2017/3/layout/DropPinTimeline"/>
    <dgm:cxn modelId="{AADA574B-CECE-49E2-B35D-2D13DC78FBA2}" type="presParOf" srcId="{C6732520-6779-44DF-8A2C-076B9D2B18CC}" destId="{BE8289C2-1955-4DFA-BF3A-235C3E7AC4DC}" srcOrd="1" destOrd="0" presId="urn:microsoft.com/office/officeart/2017/3/layout/DropPinTimeline"/>
    <dgm:cxn modelId="{B89B83BF-F67D-4BCD-BF99-046F59F0FACB}" type="presParOf" srcId="{C6732520-6779-44DF-8A2C-076B9D2B18CC}" destId="{83595D1B-7482-4171-97A1-156B3536570D}" srcOrd="2" destOrd="0" presId="urn:microsoft.com/office/officeart/2017/3/layout/DropPinTimeline"/>
    <dgm:cxn modelId="{B098F800-1965-47E4-856C-7F87A1BD9DB6}" type="presParOf" srcId="{83595D1B-7482-4171-97A1-156B3536570D}" destId="{8763A379-D9C2-44B9-937A-BCF0CD20024A}" srcOrd="0" destOrd="0" presId="urn:microsoft.com/office/officeart/2017/3/layout/DropPinTimeline"/>
    <dgm:cxn modelId="{CD5E9C44-B028-4517-B46A-4AD9A6FC8A77}" type="presParOf" srcId="{83595D1B-7482-4171-97A1-156B3536570D}" destId="{0CB29B42-BF87-4618-AEF2-4826EC33353F}" srcOrd="1" destOrd="0" presId="urn:microsoft.com/office/officeart/2017/3/layout/DropPinTimeline"/>
    <dgm:cxn modelId="{A52B4D68-ECCF-4514-99D7-A2359B64241B}" type="presParOf" srcId="{0CB29B42-BF87-4618-AEF2-4826EC33353F}" destId="{CCF48683-1E14-4047-B94E-0295A5C03C12}" srcOrd="0" destOrd="0" presId="urn:microsoft.com/office/officeart/2017/3/layout/DropPinTimeline"/>
    <dgm:cxn modelId="{4C2DAF9B-D971-4DB3-9EE1-ECC6FA7F016F}" type="presParOf" srcId="{0CB29B42-BF87-4618-AEF2-4826EC33353F}" destId="{D8789334-8628-4E0C-9BB1-F4C44225D4C7}" srcOrd="1" destOrd="0" presId="urn:microsoft.com/office/officeart/2017/3/layout/DropPinTimeline"/>
    <dgm:cxn modelId="{4DC90272-454F-4E5D-A3BD-26279C3FD90E}" type="presParOf" srcId="{83595D1B-7482-4171-97A1-156B3536570D}" destId="{6F6799FA-03A4-452C-904D-C80ACD142AC4}" srcOrd="2" destOrd="0" presId="urn:microsoft.com/office/officeart/2017/3/layout/DropPinTimeline"/>
    <dgm:cxn modelId="{D0F85C5D-778B-4DFF-9ED6-14F6E65FFBD8}" type="presParOf" srcId="{83595D1B-7482-4171-97A1-156B3536570D}" destId="{CF595353-D0C6-4C10-B14D-0829EA309AB2}" srcOrd="3" destOrd="0" presId="urn:microsoft.com/office/officeart/2017/3/layout/DropPinTimeline"/>
    <dgm:cxn modelId="{B9A029A0-CD3B-40A2-9801-38A833BECDD1}" type="presParOf" srcId="{83595D1B-7482-4171-97A1-156B3536570D}" destId="{5D8604F3-C2C5-4D6A-98B5-D60174218AD6}" srcOrd="4" destOrd="0" presId="urn:microsoft.com/office/officeart/2017/3/layout/DropPinTimeline"/>
    <dgm:cxn modelId="{9B3FCF0D-AA98-41E7-AD6E-0EB592844FDF}" type="presParOf" srcId="{83595D1B-7482-4171-97A1-156B3536570D}" destId="{7E8C450A-DA2C-41CA-9400-538FDE1D7B0C}" srcOrd="5" destOrd="0" presId="urn:microsoft.com/office/officeart/2017/3/layout/DropPinTimeline"/>
    <dgm:cxn modelId="{C022EFD0-39A4-4059-BADF-07F9968BB1C7}" type="presParOf" srcId="{C6732520-6779-44DF-8A2C-076B9D2B18CC}" destId="{DE65524E-1348-4A27-9991-AD6E04F72D0C}" srcOrd="3" destOrd="0" presId="urn:microsoft.com/office/officeart/2017/3/layout/DropPinTimeline"/>
    <dgm:cxn modelId="{3C4733C6-C839-4124-9062-C5656C35C9BC}" type="presParOf" srcId="{C6732520-6779-44DF-8A2C-076B9D2B18CC}" destId="{171CC440-C253-4426-89F8-35D965A8C232}" srcOrd="4" destOrd="0" presId="urn:microsoft.com/office/officeart/2017/3/layout/DropPinTimeline"/>
    <dgm:cxn modelId="{C2DE05C0-B9F6-4A85-B040-ED208F46B044}" type="presParOf" srcId="{171CC440-C253-4426-89F8-35D965A8C232}" destId="{8C3E728A-E61D-46AB-A655-B1D1FD94563A}" srcOrd="0" destOrd="0" presId="urn:microsoft.com/office/officeart/2017/3/layout/DropPinTimeline"/>
    <dgm:cxn modelId="{5DDC1C5B-B025-47B1-BA65-3D0640363BB7}" type="presParOf" srcId="{171CC440-C253-4426-89F8-35D965A8C232}" destId="{969E78F9-5C55-4E65-A719-7F53127B6D14}" srcOrd="1" destOrd="0" presId="urn:microsoft.com/office/officeart/2017/3/layout/DropPinTimeline"/>
    <dgm:cxn modelId="{06E5C7A7-C1AA-41DC-8DF6-F318C7AE40FB}" type="presParOf" srcId="{969E78F9-5C55-4E65-A719-7F53127B6D14}" destId="{BEF65DA8-59C6-4B60-B80C-9D0B1D08FEA3}" srcOrd="0" destOrd="0" presId="urn:microsoft.com/office/officeart/2017/3/layout/DropPinTimeline"/>
    <dgm:cxn modelId="{9C99B004-E92A-43DD-AC54-BADAE3C6D8C2}" type="presParOf" srcId="{969E78F9-5C55-4E65-A719-7F53127B6D14}" destId="{C76036F7-FF1E-46B5-838B-0D689830DC5E}" srcOrd="1" destOrd="0" presId="urn:microsoft.com/office/officeart/2017/3/layout/DropPinTimeline"/>
    <dgm:cxn modelId="{B2D726E4-F220-4B0F-BD17-2C5014AFB0B8}" type="presParOf" srcId="{171CC440-C253-4426-89F8-35D965A8C232}" destId="{3DD90646-0A91-4E5F-A0FA-A5C03EB8A48F}" srcOrd="2" destOrd="0" presId="urn:microsoft.com/office/officeart/2017/3/layout/DropPinTimeline"/>
    <dgm:cxn modelId="{840BD353-BBBC-4199-A69F-8812447EB0AD}" type="presParOf" srcId="{171CC440-C253-4426-89F8-35D965A8C232}" destId="{E355F851-A526-4ED7-9847-F50F43F84082}" srcOrd="3" destOrd="0" presId="urn:microsoft.com/office/officeart/2017/3/layout/DropPinTimeline"/>
    <dgm:cxn modelId="{5E73CBEF-AF35-40FA-9943-F28EBC2974A9}" type="presParOf" srcId="{171CC440-C253-4426-89F8-35D965A8C232}" destId="{2DCC2DC0-00B5-4C8C-8975-0B9617DB738E}" srcOrd="4" destOrd="0" presId="urn:microsoft.com/office/officeart/2017/3/layout/DropPinTimeline"/>
    <dgm:cxn modelId="{131DAA4E-B99C-44A9-B1B5-3F9E84B6FBAC}" type="presParOf" srcId="{171CC440-C253-4426-89F8-35D965A8C232}" destId="{9E56B1DE-1B6B-4E9A-83DD-EAC2AB6225E0}"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326AC-EC83-4B73-A6EA-119251D76502}">
      <dsp:nvSpPr>
        <dsp:cNvPr id="0" name=""/>
        <dsp:cNvSpPr/>
      </dsp:nvSpPr>
      <dsp:spPr>
        <a:xfrm>
          <a:off x="0" y="2232211"/>
          <a:ext cx="7929237"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C52015C6-045C-4741-9CA2-1E8AE446C24E}">
      <dsp:nvSpPr>
        <dsp:cNvPr id="0" name=""/>
        <dsp:cNvSpPr/>
      </dsp:nvSpPr>
      <dsp:spPr>
        <a:xfrm rot="8100000">
          <a:off x="68441" y="514437"/>
          <a:ext cx="328309" cy="328309"/>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2E58B000-E188-4B7F-8B70-B65FAEFBF0B5}">
      <dsp:nvSpPr>
        <dsp:cNvPr id="0" name=""/>
        <dsp:cNvSpPr/>
      </dsp:nvSpPr>
      <dsp:spPr>
        <a:xfrm>
          <a:off x="104913" y="550909"/>
          <a:ext cx="255364" cy="25536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7EDDE69-64B0-47FA-98F1-E3ABA9DE0A4D}">
      <dsp:nvSpPr>
        <dsp:cNvPr id="0" name=""/>
        <dsp:cNvSpPr/>
      </dsp:nvSpPr>
      <dsp:spPr>
        <a:xfrm>
          <a:off x="464745" y="910742"/>
          <a:ext cx="3298955" cy="1321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Tail gate meetings</a:t>
          </a:r>
          <a:r>
            <a:rPr lang="en-US" sz="1500" kern="1200">
              <a:latin typeface="Arial" panose="020B0604020202020204"/>
            </a:rPr>
            <a:t> </a:t>
          </a:r>
        </a:p>
      </dsp:txBody>
      <dsp:txXfrm>
        <a:off x="464745" y="910742"/>
        <a:ext cx="3298955" cy="1321469"/>
      </dsp:txXfrm>
    </dsp:sp>
    <dsp:sp modelId="{265CF8BC-BCF3-43B8-BD48-DDBCC4020465}">
      <dsp:nvSpPr>
        <dsp:cNvPr id="0" name=""/>
        <dsp:cNvSpPr/>
      </dsp:nvSpPr>
      <dsp:spPr>
        <a:xfrm>
          <a:off x="464745" y="446442"/>
          <a:ext cx="3298955" cy="46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rtl="0">
            <a:lnSpc>
              <a:spcPct val="90000"/>
            </a:lnSpc>
            <a:spcBef>
              <a:spcPct val="0"/>
            </a:spcBef>
            <a:spcAft>
              <a:spcPct val="35000"/>
            </a:spcAft>
            <a:buNone/>
            <a:defRPr b="1"/>
          </a:pPr>
          <a:r>
            <a:rPr lang="en-US" sz="2000" kern="1200">
              <a:latin typeface="Arial" panose="020B0604020202020204"/>
            </a:rPr>
            <a:t>Jun </a:t>
          </a:r>
          <a:r>
            <a:rPr lang="en-US" sz="2000" kern="1200"/>
            <a:t>–</a:t>
          </a:r>
          <a:r>
            <a:rPr lang="en-US" sz="2000" kern="1200">
              <a:latin typeface="Arial" panose="020B0604020202020204"/>
            </a:rPr>
            <a:t> Jul</a:t>
          </a:r>
          <a:endParaRPr lang="en-US" sz="2000" kern="1200"/>
        </a:p>
      </dsp:txBody>
      <dsp:txXfrm>
        <a:off x="464745" y="446442"/>
        <a:ext cx="3298955" cy="464299"/>
      </dsp:txXfrm>
    </dsp:sp>
    <dsp:sp modelId="{DADA61DF-6E9F-45BF-9520-748295CC9E8E}">
      <dsp:nvSpPr>
        <dsp:cNvPr id="0" name=""/>
        <dsp:cNvSpPr/>
      </dsp:nvSpPr>
      <dsp:spPr>
        <a:xfrm>
          <a:off x="232595" y="910742"/>
          <a:ext cx="0" cy="1321469"/>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6D66703-C238-4C6B-9CF6-419A928896D9}">
      <dsp:nvSpPr>
        <dsp:cNvPr id="0" name=""/>
        <dsp:cNvSpPr/>
      </dsp:nvSpPr>
      <dsp:spPr>
        <a:xfrm>
          <a:off x="189591" y="2190424"/>
          <a:ext cx="83573" cy="8357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CCF48683-1E14-4047-B94E-0295A5C03C12}">
      <dsp:nvSpPr>
        <dsp:cNvPr id="0" name=""/>
        <dsp:cNvSpPr/>
      </dsp:nvSpPr>
      <dsp:spPr>
        <a:xfrm rot="18900000">
          <a:off x="2045290" y="3621675"/>
          <a:ext cx="328309" cy="328309"/>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D8789334-8628-4E0C-9BB1-F4C44225D4C7}">
      <dsp:nvSpPr>
        <dsp:cNvPr id="0" name=""/>
        <dsp:cNvSpPr/>
      </dsp:nvSpPr>
      <dsp:spPr>
        <a:xfrm>
          <a:off x="2081763" y="3658148"/>
          <a:ext cx="255364" cy="25536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F6799FA-03A4-452C-904D-C80ACD142AC4}">
      <dsp:nvSpPr>
        <dsp:cNvPr id="0" name=""/>
        <dsp:cNvSpPr/>
      </dsp:nvSpPr>
      <dsp:spPr>
        <a:xfrm>
          <a:off x="2441595" y="2232211"/>
          <a:ext cx="3298955" cy="1321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b="0" kern="1200">
              <a:latin typeface="Arial" panose="020B0604020202020204"/>
            </a:rPr>
            <a:t>Workplace</a:t>
          </a:r>
          <a:r>
            <a:rPr lang="en-US" sz="1500" b="0" kern="1200"/>
            <a:t> Exams</a:t>
          </a:r>
        </a:p>
      </dsp:txBody>
      <dsp:txXfrm>
        <a:off x="2441595" y="2232211"/>
        <a:ext cx="3298955" cy="1321469"/>
      </dsp:txXfrm>
    </dsp:sp>
    <dsp:sp modelId="{CF595353-D0C6-4C10-B14D-0829EA309AB2}">
      <dsp:nvSpPr>
        <dsp:cNvPr id="0" name=""/>
        <dsp:cNvSpPr/>
      </dsp:nvSpPr>
      <dsp:spPr>
        <a:xfrm>
          <a:off x="2441595" y="3553680"/>
          <a:ext cx="3298955" cy="46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rtl="0">
            <a:lnSpc>
              <a:spcPct val="90000"/>
            </a:lnSpc>
            <a:spcBef>
              <a:spcPct val="0"/>
            </a:spcBef>
            <a:spcAft>
              <a:spcPct val="35000"/>
            </a:spcAft>
            <a:buNone/>
            <a:defRPr b="1"/>
          </a:pPr>
          <a:r>
            <a:rPr lang="en-US" sz="2000" b="1" kern="1200"/>
            <a:t>Aug</a:t>
          </a:r>
          <a:r>
            <a:rPr lang="en-US" sz="2000" b="1" kern="1200">
              <a:latin typeface="Arial" panose="020B0604020202020204"/>
            </a:rPr>
            <a:t> – </a:t>
          </a:r>
          <a:r>
            <a:rPr lang="en-US" sz="2000" b="1" kern="1200"/>
            <a:t>Sep</a:t>
          </a:r>
        </a:p>
      </dsp:txBody>
      <dsp:txXfrm>
        <a:off x="2441595" y="3553680"/>
        <a:ext cx="3298955" cy="464299"/>
      </dsp:txXfrm>
    </dsp:sp>
    <dsp:sp modelId="{5D8604F3-C2C5-4D6A-98B5-D60174218AD6}">
      <dsp:nvSpPr>
        <dsp:cNvPr id="0" name=""/>
        <dsp:cNvSpPr/>
      </dsp:nvSpPr>
      <dsp:spPr>
        <a:xfrm>
          <a:off x="2209445" y="2232211"/>
          <a:ext cx="0" cy="1321469"/>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763A379-D9C2-44B9-937A-BCF0CD20024A}">
      <dsp:nvSpPr>
        <dsp:cNvPr id="0" name=""/>
        <dsp:cNvSpPr/>
      </dsp:nvSpPr>
      <dsp:spPr>
        <a:xfrm>
          <a:off x="2166441" y="2190424"/>
          <a:ext cx="83573" cy="8357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EF65DA8-59C6-4B60-B80C-9D0B1D08FEA3}">
      <dsp:nvSpPr>
        <dsp:cNvPr id="0" name=""/>
        <dsp:cNvSpPr/>
      </dsp:nvSpPr>
      <dsp:spPr>
        <a:xfrm rot="8100000">
          <a:off x="4022140" y="514437"/>
          <a:ext cx="328309" cy="328309"/>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C76036F7-FF1E-46B5-838B-0D689830DC5E}">
      <dsp:nvSpPr>
        <dsp:cNvPr id="0" name=""/>
        <dsp:cNvSpPr/>
      </dsp:nvSpPr>
      <dsp:spPr>
        <a:xfrm>
          <a:off x="4058612" y="550909"/>
          <a:ext cx="255364" cy="255364"/>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DD90646-0A91-4E5F-A0FA-A5C03EB8A48F}">
      <dsp:nvSpPr>
        <dsp:cNvPr id="0" name=""/>
        <dsp:cNvSpPr/>
      </dsp:nvSpPr>
      <dsp:spPr>
        <a:xfrm>
          <a:off x="4418445" y="910742"/>
          <a:ext cx="3298955" cy="13214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b="0" kern="1200">
              <a:latin typeface="Arial" panose="020B0604020202020204"/>
            </a:rPr>
            <a:t>JRAs</a:t>
          </a:r>
          <a:endParaRPr lang="en-US" sz="1500" b="0" kern="1200"/>
        </a:p>
      </dsp:txBody>
      <dsp:txXfrm>
        <a:off x="4418445" y="910742"/>
        <a:ext cx="3298955" cy="1321469"/>
      </dsp:txXfrm>
    </dsp:sp>
    <dsp:sp modelId="{E355F851-A526-4ED7-9847-F50F43F84082}">
      <dsp:nvSpPr>
        <dsp:cNvPr id="0" name=""/>
        <dsp:cNvSpPr/>
      </dsp:nvSpPr>
      <dsp:spPr>
        <a:xfrm>
          <a:off x="4418445" y="446442"/>
          <a:ext cx="3298955" cy="464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b="0" kern="1200">
              <a:latin typeface="Arial" panose="020B0604020202020204"/>
            </a:rPr>
            <a:t>Oct – Nov</a:t>
          </a:r>
        </a:p>
      </dsp:txBody>
      <dsp:txXfrm>
        <a:off x="4418445" y="446442"/>
        <a:ext cx="3298955" cy="464299"/>
      </dsp:txXfrm>
    </dsp:sp>
    <dsp:sp modelId="{2DCC2DC0-00B5-4C8C-8975-0B9617DB738E}">
      <dsp:nvSpPr>
        <dsp:cNvPr id="0" name=""/>
        <dsp:cNvSpPr/>
      </dsp:nvSpPr>
      <dsp:spPr>
        <a:xfrm>
          <a:off x="4186295" y="910742"/>
          <a:ext cx="0" cy="1321469"/>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C3E728A-E61D-46AB-A655-B1D1FD94563A}">
      <dsp:nvSpPr>
        <dsp:cNvPr id="0" name=""/>
        <dsp:cNvSpPr/>
      </dsp:nvSpPr>
      <dsp:spPr>
        <a:xfrm>
          <a:off x="4143291" y="2190424"/>
          <a:ext cx="83573" cy="8357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8/7/2023</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480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716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2062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605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5250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2" y="3561752"/>
            <a:ext cx="5500405" cy="581114"/>
          </a:xfrm>
          <a:prstGeom prst="rect">
            <a:avLst/>
          </a:prstGeom>
        </p:spPr>
        <p:txBody>
          <a:bodyPr>
            <a:noAutofit/>
          </a:bodyPr>
          <a:lstStyle>
            <a:lvl1pPr marL="0" indent="0" algn="l">
              <a:buNone/>
              <a:defRPr sz="2400">
                <a:solidFill>
                  <a:srgbClr val="0070C0"/>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6" y="5657944"/>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6"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8"/>
          <a:srcRect t="6973" b="4485"/>
          <a:stretch/>
        </p:blipFill>
        <p:spPr>
          <a:xfrm>
            <a:off x="1011534"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7" y="1698531"/>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3" y="6439699"/>
            <a:ext cx="773355"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66859" y="6037136"/>
            <a:ext cx="1244775" cy="407645"/>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9"/>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5"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70"/>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7"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43" indent="-342891">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4" y="6507853"/>
            <a:ext cx="7363977" cy="289067"/>
          </a:xfrm>
          <a:prstGeom prst="rect">
            <a:avLst/>
          </a:prstGeom>
        </p:spPr>
        <p:txBody>
          <a:bodyPr anchor="t">
            <a:noAutofit/>
          </a:bodyPr>
          <a:lstStyle>
            <a:lvl1pPr marL="0" indent="0">
              <a:buNone/>
              <a:defRPr sz="11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6" y="382163"/>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7" y="2695373"/>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5"/>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43" indent="-342891">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11" y="2858371"/>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5" y="3319677"/>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7" y="3840258"/>
            <a:ext cx="3024555"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6"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60"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4"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1"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71"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91"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5" y="332051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7" y="3841094"/>
            <a:ext cx="3024555"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6"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60"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4"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1"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71"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1"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121320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35" indent="-342891">
              <a:buClr>
                <a:srgbClr val="DF572A"/>
              </a:buClr>
              <a:defRPr lang="en-US" sz="2200" b="0" i="0" kern="1200" dirty="0">
                <a:solidFill>
                  <a:schemeClr val="tx1"/>
                </a:solidFill>
                <a:latin typeface="+mj-lt"/>
                <a:ea typeface="+mn-ea"/>
                <a:cs typeface="Arial" panose="020B0604020202020204" pitchFamily="34" charset="0"/>
              </a:defRPr>
            </a:lvl2pPr>
            <a:lvl3pPr marL="804843" indent="-342891">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49" indent="-342891">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486" lvl="1" indent="-285744" algn="l" defTabSz="914377"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57" lvl="2" indent="-227008" algn="l" defTabSz="914377"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377" lvl="3" indent="-225420" algn="l" defTabSz="914377"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4002"/>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4002"/>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6" y="365129"/>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15899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61"/>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2"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90"/>
            <a:ext cx="8221435" cy="5397247"/>
          </a:xfrm>
          <a:prstGeom prst="rect">
            <a:avLst/>
          </a:prstGeom>
        </p:spPr>
        <p:txBody>
          <a:bodyPr vert="eaVert">
            <a:noAutofit/>
          </a:bodyPr>
          <a:lstStyle>
            <a:lvl1pPr>
              <a:defRPr sz="2400">
                <a:solidFill>
                  <a:schemeClr val="tx1"/>
                </a:solidFill>
                <a:latin typeface="+mj-lt"/>
              </a:defRPr>
            </a:lvl1pPr>
            <a:lvl2pPr marL="628635" indent="-342891">
              <a:defRPr lang="en-US" sz="2200" b="0" i="0" kern="1200" dirty="0">
                <a:solidFill>
                  <a:schemeClr val="tx1"/>
                </a:solidFill>
                <a:latin typeface="+mj-lt"/>
                <a:ea typeface="+mn-ea"/>
                <a:cs typeface="Arial" panose="020B0604020202020204" pitchFamily="34" charset="0"/>
              </a:defRPr>
            </a:lvl2pPr>
            <a:lvl3pPr marL="804843" indent="-342891">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49" indent="-342891">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486" lvl="1" indent="-285744" algn="l" defTabSz="914377"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57" lvl="2" indent="-227008" algn="l" defTabSz="914377"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377" lvl="3" indent="-225420" algn="l" defTabSz="914377"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3" y="6239748"/>
            <a:ext cx="945677" cy="296239"/>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402" y="2333948"/>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5400000">
            <a:off x="10826477" y="3313434"/>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2256" t="1225" r="64259" b="44"/>
          <a:stretch/>
        </p:blipFill>
        <p:spPr>
          <a:xfrm>
            <a:off x="11895758"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10859812" y="3251016"/>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9"/>
          <a:stretch>
            <a:fillRect/>
          </a:stretch>
        </p:blipFill>
        <p:spPr>
          <a:xfrm rot="5400000">
            <a:off x="10596917" y="5819866"/>
            <a:ext cx="1323729" cy="556451"/>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81"/>
            <a:ext cx="6400799" cy="533203"/>
          </a:xfrm>
          <a:prstGeom prst="rect">
            <a:avLst/>
          </a:prstGeom>
        </p:spPr>
        <p:txBody>
          <a:bodyPr anchor="ctr"/>
          <a:lstStyle>
            <a:lvl1pPr algn="l">
              <a:defRPr sz="15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5" y="312315"/>
            <a:ext cx="4232516" cy="323165"/>
          </a:xfrm>
          <a:prstGeom prst="rect">
            <a:avLst/>
          </a:prstGeom>
          <a:noFill/>
        </p:spPr>
        <p:txBody>
          <a:bodyPr wrap="square" rtlCol="0">
            <a:spAutoFit/>
          </a:bodyPr>
          <a:lstStyle/>
          <a:p>
            <a:r>
              <a:rPr lang="en-US" sz="15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1"/>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68523" y="17227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hasCustomPrompt="1"/>
          </p:nvPr>
        </p:nvSpPr>
        <p:spPr>
          <a:xfrm>
            <a:off x="273051" y="103188"/>
            <a:ext cx="927100" cy="703262"/>
          </a:xfrm>
          <a:prstGeom prst="rect">
            <a:avLst/>
          </a:prstGeom>
        </p:spPr>
        <p:txBody>
          <a:bodyPr/>
          <a:lstStyle>
            <a:lvl1pPr>
              <a:defRPr/>
            </a:lvl1pPr>
          </a:lstStyle>
          <a:p>
            <a:r>
              <a:rPr lang="en-US"/>
              <a:t>FRM Icon</a:t>
            </a:r>
          </a:p>
        </p:txBody>
      </p:sp>
    </p:spTree>
    <p:extLst>
      <p:ext uri="{BB962C8B-B14F-4D97-AF65-F5344CB8AC3E}">
        <p14:creationId xmlns:p14="http://schemas.microsoft.com/office/powerpoint/2010/main" val="197921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3" y="319836"/>
            <a:ext cx="4232516" cy="323165"/>
          </a:xfrm>
          <a:prstGeom prst="rect">
            <a:avLst/>
          </a:prstGeom>
          <a:noFill/>
        </p:spPr>
        <p:txBody>
          <a:bodyPr wrap="square" rtlCol="0">
            <a:spAutoFit/>
          </a:bodyPr>
          <a:lstStyle/>
          <a:p>
            <a:r>
              <a:rPr lang="en-US" sz="15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9" y="1404941"/>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9"/>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5"/>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051"/>
            </a:lvl1pPr>
            <a:lvl3pPr marL="288038"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3" y="3769575"/>
            <a:ext cx="2414791" cy="226425"/>
          </a:xfrm>
          <a:prstGeom prst="rect">
            <a:avLst/>
          </a:prstGeom>
        </p:spPr>
        <p:txBody>
          <a:bodyPr/>
          <a:lstStyle>
            <a:lvl1pPr>
              <a:defRPr sz="1051"/>
            </a:lvl1pPr>
            <a:lvl3pPr marL="288038"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90"/>
            <a:ext cx="4073285" cy="226425"/>
          </a:xfrm>
          <a:prstGeom prst="rect">
            <a:avLst/>
          </a:prstGeom>
        </p:spPr>
        <p:txBody>
          <a:bodyPr/>
          <a:lstStyle>
            <a:lvl1pPr>
              <a:defRPr sz="1051"/>
            </a:lvl1pPr>
            <a:lvl3pPr marL="288038"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3" y="3218934"/>
            <a:ext cx="6099907" cy="300082"/>
          </a:xfrm>
          <a:prstGeom prst="rect">
            <a:avLst/>
          </a:prstGeom>
          <a:noFill/>
        </p:spPr>
        <p:txBody>
          <a:bodyPr wrap="square">
            <a:spAutoFit/>
          </a:bodyPr>
          <a:lstStyle/>
          <a:p>
            <a:endParaRPr lang="en-US" sz="135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1"/>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4" y="269828"/>
            <a:ext cx="4260579" cy="533203"/>
          </a:xfrm>
          <a:prstGeom prst="rect">
            <a:avLst/>
          </a:prstGeom>
        </p:spPr>
        <p:txBody>
          <a:bodyPr anchor="ctr"/>
          <a:lstStyle>
            <a:lvl1pPr algn="l">
              <a:defRPr sz="15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2" y="200026"/>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1"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5" y="489227"/>
            <a:ext cx="570131" cy="324186"/>
          </a:xfrm>
          <a:prstGeom prst="rect">
            <a:avLst/>
          </a:prstGeom>
        </p:spPr>
      </p:pic>
    </p:spTree>
    <p:extLst>
      <p:ext uri="{BB962C8B-B14F-4D97-AF65-F5344CB8AC3E}">
        <p14:creationId xmlns:p14="http://schemas.microsoft.com/office/powerpoint/2010/main" val="4030057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1"/>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5" y="312315"/>
            <a:ext cx="4232516" cy="323165"/>
          </a:xfrm>
          <a:prstGeom prst="rect">
            <a:avLst/>
          </a:prstGeom>
          <a:noFill/>
        </p:spPr>
        <p:txBody>
          <a:bodyPr wrap="square" rtlCol="0">
            <a:spAutoFit/>
          </a:bodyPr>
          <a:lstStyle/>
          <a:p>
            <a:r>
              <a:rPr lang="en-US" sz="15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2" y="269828"/>
            <a:ext cx="5202189" cy="533203"/>
          </a:xfrm>
          <a:prstGeom prst="rect">
            <a:avLst/>
          </a:prstGeom>
        </p:spPr>
        <p:txBody>
          <a:bodyPr anchor="ctr"/>
          <a:lstStyle>
            <a:lvl1pPr algn="l">
              <a:defRPr sz="15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2" y="200026"/>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1"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5" y="489227"/>
            <a:ext cx="570131" cy="324186"/>
          </a:xfrm>
          <a:prstGeom prst="rect">
            <a:avLst/>
          </a:prstGeom>
        </p:spPr>
      </p:pic>
    </p:spTree>
    <p:extLst>
      <p:ext uri="{BB962C8B-B14F-4D97-AF65-F5344CB8AC3E}">
        <p14:creationId xmlns:p14="http://schemas.microsoft.com/office/powerpoint/2010/main" val="4002375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5B839-F1F8-429E-869F-2ACC883C49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962670-F10F-4E15-9FAB-C7CDC255B3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AF1FC6-A18B-41D2-8714-D0D7534D7892}"/>
              </a:ext>
            </a:extLst>
          </p:cNvPr>
          <p:cNvSpPr>
            <a:spLocks noGrp="1"/>
          </p:cNvSpPr>
          <p:nvPr>
            <p:ph type="dt" sz="half" idx="10"/>
          </p:nvPr>
        </p:nvSpPr>
        <p:spPr/>
        <p:txBody>
          <a:bodyPr/>
          <a:lstStyle/>
          <a:p>
            <a:fld id="{FA2C653B-AB6B-44C0-8262-E122E9833905}" type="datetimeFigureOut">
              <a:rPr lang="en-US" smtClean="0"/>
              <a:t>8/7/2023</a:t>
            </a:fld>
            <a:endParaRPr lang="en-US"/>
          </a:p>
        </p:txBody>
      </p:sp>
      <p:sp>
        <p:nvSpPr>
          <p:cNvPr id="5" name="Footer Placeholder 4">
            <a:extLst>
              <a:ext uri="{FF2B5EF4-FFF2-40B4-BE49-F238E27FC236}">
                <a16:creationId xmlns:a16="http://schemas.microsoft.com/office/drawing/2014/main" id="{5AE29329-5DE4-4857-82AE-DE09D971F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380452-FB6E-4597-B2EA-07EF1DAA0275}"/>
              </a:ext>
            </a:extLst>
          </p:cNvPr>
          <p:cNvSpPr>
            <a:spLocks noGrp="1"/>
          </p:cNvSpPr>
          <p:nvPr>
            <p:ph type="sldNum" sz="quarter" idx="12"/>
          </p:nvPr>
        </p:nvSpPr>
        <p:spPr/>
        <p:txBody>
          <a:bodyPr/>
          <a:lstStyle/>
          <a:p>
            <a:fld id="{F10FC6B0-47A8-49AC-A29C-860BFBDC3956}" type="slidenum">
              <a:rPr lang="en-US" smtClean="0"/>
              <a:t>‹#›</a:t>
            </a:fld>
            <a:endParaRPr lang="en-US"/>
          </a:p>
        </p:txBody>
      </p:sp>
    </p:spTree>
    <p:extLst>
      <p:ext uri="{BB962C8B-B14F-4D97-AF65-F5344CB8AC3E}">
        <p14:creationId xmlns:p14="http://schemas.microsoft.com/office/powerpoint/2010/main" val="3887498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4" y="1698531"/>
            <a:ext cx="5324679"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6" y="5657944"/>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4"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5" y="3178"/>
            <a:ext cx="12290631"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4" y="1698531"/>
            <a:ext cx="5324679"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6" y="5657944"/>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0"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6200000" flipH="1">
            <a:off x="5873929"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2598" y="1966234"/>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1" y="1696067"/>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9" y="6577567"/>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9" y="5588878"/>
            <a:ext cx="11058239"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1907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6" y="407563"/>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6" y="1519522"/>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486" indent="-285744">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57" indent="-227008">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377" indent="-225420">
              <a:buClr>
                <a:srgbClr val="BB5D00"/>
              </a:buClr>
              <a:buSzPct val="95000"/>
              <a:defRPr sz="1800">
                <a:latin typeface="+mj-lt"/>
                <a:cs typeface="Arial" panose="020B0604020202020204" pitchFamily="34" charset="0"/>
              </a:defRPr>
            </a:lvl4pPr>
            <a:lvl5pPr marL="1139797" indent="-225420">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164082829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6"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6" y="1519522"/>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486" indent="-285744">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57" indent="-227008">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377" indent="-225420">
              <a:buClr>
                <a:srgbClr val="BB5D00"/>
              </a:buClr>
              <a:buSzPct val="95000"/>
              <a:defRPr sz="1800">
                <a:latin typeface="Arial" panose="020B0604020202020204" pitchFamily="34" charset="0"/>
                <a:cs typeface="Arial" panose="020B0604020202020204" pitchFamily="34" charset="0"/>
              </a:defRPr>
            </a:lvl4pPr>
            <a:lvl5pPr marL="1200121" indent="-285744">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797" lvl="4" indent="-225420" algn="l" defTabSz="914377"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6" y="778996"/>
            <a:ext cx="9680953" cy="311849"/>
          </a:xfrm>
          <a:prstGeom prst="rect">
            <a:avLst/>
          </a:prstGeom>
        </p:spPr>
        <p:txBody>
          <a:bodyPr>
            <a:noAutofit/>
          </a:bodyPr>
          <a:lstStyle>
            <a:lvl1pPr marL="0" indent="0" algn="l">
              <a:buNone/>
              <a:defRPr sz="1800" i="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7"/>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6" y="407563"/>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21"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9001" y="4930439"/>
            <a:ext cx="372487"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2" y="4926251"/>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4"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3"/>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1"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800" y="4951443"/>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2" y="1321777"/>
            <a:ext cx="10110835" cy="1200329"/>
          </a:xfrm>
          <a:prstGeom prst="rect">
            <a:avLst/>
          </a:prstGeom>
          <a:noFill/>
        </p:spPr>
        <p:txBody>
          <a:bodyPr wrap="square" rtlCol="0">
            <a:noAutofit/>
          </a:bodyPr>
          <a:lstStyle/>
          <a:p>
            <a:pPr marL="342891" indent="-342891">
              <a:buFont typeface="+mj-lt"/>
              <a:buAutoNum type="arabicPeriod"/>
            </a:pPr>
            <a:r>
              <a:rPr lang="en-US" sz="1800" b="1" u="sng">
                <a:latin typeface="Arial" panose="020B0604020202020204" pitchFamily="34" charset="0"/>
                <a:cs typeface="Arial" panose="020B0604020202020204" pitchFamily="34" charset="0"/>
              </a:rPr>
              <a:t>2023 The Power of Copper </a:t>
            </a:r>
            <a:r>
              <a:rPr lang="en-US" sz="1800">
                <a:latin typeface="Arial" panose="020B0604020202020204" pitchFamily="34" charset="0"/>
                <a:cs typeface="Arial" panose="020B0604020202020204" pitchFamily="34" charset="0"/>
              </a:rPr>
              <a:t>color theme</a:t>
            </a:r>
          </a:p>
          <a:p>
            <a:pPr marL="342891" indent="-342891">
              <a:buFont typeface="+mj-lt"/>
              <a:buAutoNum type="arabicPeriod"/>
            </a:pPr>
            <a:r>
              <a:rPr lang="en-US" sz="1800">
                <a:latin typeface="Arial" panose="020B0604020202020204" pitchFamily="34" charset="0"/>
                <a:cs typeface="Arial" panose="020B0604020202020204" pitchFamily="34" charset="0"/>
              </a:rPr>
              <a:t>Select View/Slide Master</a:t>
            </a:r>
          </a:p>
          <a:p>
            <a:pPr marL="342891" indent="-342891">
              <a:buFont typeface="+mj-lt"/>
              <a:buAutoNum type="arabicPeriod"/>
            </a:pPr>
            <a:r>
              <a:rPr lang="en-US" sz="1800">
                <a:latin typeface="Arial" panose="020B0604020202020204" pitchFamily="34" charset="0"/>
                <a:cs typeface="Arial" panose="020B0604020202020204" pitchFamily="34" charset="0"/>
              </a:rPr>
              <a:t>Select Theme Colors</a:t>
            </a:r>
          </a:p>
          <a:p>
            <a:pPr marL="342891" indent="-342891">
              <a:buFont typeface="+mj-lt"/>
              <a:buAutoNum type="arabicPeriod"/>
            </a:pPr>
            <a:r>
              <a:rPr lang="en-US" sz="1800">
                <a:latin typeface="Arial" panose="020B0604020202020204" pitchFamily="34" charset="0"/>
                <a:cs typeface="Arial" panose="020B0604020202020204" pitchFamily="34" charset="0"/>
              </a:rPr>
              <a:t>Under </a:t>
            </a:r>
            <a:r>
              <a:rPr lang="en-US" sz="1800" u="sng">
                <a:latin typeface="Arial" panose="020B0604020202020204" pitchFamily="34" charset="0"/>
                <a:cs typeface="Arial" panose="020B0604020202020204" pitchFamily="34" charset="0"/>
              </a:rPr>
              <a:t>Custom</a:t>
            </a:r>
            <a:r>
              <a:rPr lang="en-US" sz="1800">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3" y="2913247"/>
            <a:ext cx="2267559" cy="369332"/>
          </a:xfrm>
          <a:prstGeom prst="rect">
            <a:avLst/>
          </a:prstGeom>
          <a:noFill/>
        </p:spPr>
        <p:txBody>
          <a:bodyPr wrap="square" rtlCol="0">
            <a:noAutofit/>
          </a:bodyPr>
          <a:lstStyle/>
          <a:p>
            <a:r>
              <a:rPr lang="en-US" sz="180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6"/>
            <a:ext cx="1234147"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30"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2"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60"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3"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8"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2"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3"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6"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3" y="4507246"/>
          <a:ext cx="3553779"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6" y="3737843"/>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9" y="3737843"/>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7" y="3737843"/>
            <a:ext cx="631903"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3" y="3737843"/>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3"/>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3"/>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9" y="3737843"/>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6" y="3737843"/>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3"/>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8"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6" y="407563"/>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2" y="1532051"/>
            <a:ext cx="5183188" cy="823912"/>
          </a:xfrm>
          <a:prstGeom prst="rect">
            <a:avLst/>
          </a:prstGeom>
        </p:spPr>
        <p:txBody>
          <a:bodyPr anchor="b">
            <a:noAutofit/>
          </a:bodyPr>
          <a:lstStyle>
            <a:lvl1pPr marL="0" indent="0">
              <a:buNone/>
              <a:defRPr sz="2400" b="1">
                <a:solidFill>
                  <a:srgbClr val="BB5D00"/>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2" y="2355963"/>
            <a:ext cx="5183188" cy="3684588"/>
          </a:xfrm>
          <a:prstGeom prst="rect">
            <a:avLst/>
          </a:prstGeom>
        </p:spPr>
        <p:txBody>
          <a:bodyPr>
            <a:noAutofit/>
          </a:bodyPr>
          <a:lstStyle>
            <a:lvl1pPr algn="l" defTabSz="914377"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377"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43" indent="-342891" algn="l" defTabSz="914377"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377"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269" indent="-342891" algn="l" defTabSz="914377"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797" lvl="4" indent="-225420" algn="l" defTabSz="914377"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6" y="330609"/>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6" y="1504955"/>
            <a:ext cx="5183188" cy="823912"/>
          </a:xfrm>
          <a:prstGeom prst="rect">
            <a:avLst/>
          </a:prstGeom>
        </p:spPr>
        <p:txBody>
          <a:bodyPr anchor="b">
            <a:noAutofit/>
          </a:bodyPr>
          <a:lstStyle>
            <a:lvl1pPr marL="0" indent="0">
              <a:buNone/>
              <a:defRPr sz="2400" b="1">
                <a:solidFill>
                  <a:srgbClr val="BB5D00"/>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6" y="2328867"/>
            <a:ext cx="5183188" cy="3684588"/>
          </a:xfrm>
          <a:prstGeom prst="rect">
            <a:avLst/>
          </a:prstGeom>
        </p:spPr>
        <p:txBody>
          <a:bodyPr>
            <a:noAutofit/>
          </a:bodyPr>
          <a:lstStyle>
            <a:lvl1pPr algn="l" defTabSz="914377"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377"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43" indent="-342891" algn="l" defTabSz="914377"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377"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269" indent="-342891">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797" lvl="4" indent="-225420" algn="l" defTabSz="914377"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483358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l="12256" t="1225" r="64259" b="44"/>
          <a:stretch/>
        </p:blipFill>
        <p:spPr>
          <a:xfrm rot="16200000">
            <a:off x="5947879"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4902205" y="15970"/>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22"/>
          <a:stretch>
            <a:fillRect/>
          </a:stretch>
        </p:blipFill>
        <p:spPr>
          <a:xfrm>
            <a:off x="10652617" y="379340"/>
            <a:ext cx="1441339"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9"/>
            </p:custDataLst>
            <p:extLst>
              <p:ext uri="{D42A27DB-BD31-4B8C-83A1-F6EECF244321}">
                <p14:modId xmlns:p14="http://schemas.microsoft.com/office/powerpoint/2010/main" val="32440668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3" imgW="592" imgH="595" progId="TCLayout.ActiveDocument.1">
                  <p:embed/>
                </p:oleObj>
              </mc:Choice>
              <mc:Fallback>
                <p:oleObj name="think-cell Slide" r:id="rId23"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4"/>
                      <a:stretch>
                        <a:fillRect/>
                      </a:stretch>
                    </p:blipFill>
                    <p:spPr>
                      <a:xfrm>
                        <a:off x="1590"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4002"/>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4002"/>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9" y="6577567"/>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6" y="365129"/>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486" lvl="1" indent="-285744" algn="l" defTabSz="914377"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57" lvl="2" indent="-227008" algn="l" defTabSz="914377"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377" lvl="3" indent="-225420" algn="l" defTabSz="914377"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797" marR="0" lvl="4" indent="-225420" algn="l" defTabSz="914377"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877" lvl="4" indent="-225420" algn="l" defTabSz="914377"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43" r:id="rId3"/>
    <p:sldLayoutId id="2147483707" r:id="rId4"/>
    <p:sldLayoutId id="2147483742" r:id="rId5"/>
    <p:sldLayoutId id="2147483741" r:id="rId6"/>
    <p:sldLayoutId id="2147483709" r:id="rId7"/>
    <p:sldLayoutId id="2147483718" r:id="rId8"/>
    <p:sldLayoutId id="2147483719" r:id="rId9"/>
    <p:sldLayoutId id="2147483725" r:id="rId10"/>
    <p:sldLayoutId id="2147483731" r:id="rId11"/>
    <p:sldLayoutId id="2147483732" r:id="rId12"/>
    <p:sldLayoutId id="2147483745" r:id="rId13"/>
    <p:sldLayoutId id="2147483746" r:id="rId14"/>
    <p:sldLayoutId id="2147483747" r:id="rId15"/>
    <p:sldLayoutId id="2147483748" r:id="rId16"/>
  </p:sldLayoutIdLst>
  <p:hf hdr="0" ftr="0" dt="0"/>
  <p:txStyles>
    <p:titleStyle>
      <a:lvl1pPr algn="l" defTabSz="914377"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69" indent="-231769" algn="l" defTabSz="914377"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35" indent="-342891" algn="l" defTabSz="914377"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43" indent="-342891" algn="l" defTabSz="914377"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49" indent="-342891" algn="l" defTabSz="914377"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21" indent="-285744" algn="l" defTabSz="914377"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3.xml"/><Relationship Id="rId7" Type="http://schemas.openxmlformats.org/officeDocument/2006/relationships/image" Target="../media/image22.png"/><Relationship Id="rId12" Type="http://schemas.openxmlformats.org/officeDocument/2006/relationships/image" Target="../media/image32.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1.emf"/><Relationship Id="rId11" Type="http://schemas.openxmlformats.org/officeDocument/2006/relationships/image" Target="../media/image31.jpeg"/><Relationship Id="rId5" Type="http://schemas.openxmlformats.org/officeDocument/2006/relationships/oleObject" Target="../embeddings/oleObject14.bin"/><Relationship Id="rId10" Type="http://schemas.openxmlformats.org/officeDocument/2006/relationships/image" Target="../media/image30.jpeg"/><Relationship Id="rId4" Type="http://schemas.openxmlformats.org/officeDocument/2006/relationships/notesSlide" Target="../notesSlides/notesSlide2.xml"/><Relationship Id="rId9"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5.xml"/><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13.xml"/><Relationship Id="rId7" Type="http://schemas.openxmlformats.org/officeDocument/2006/relationships/image" Target="../media/image2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1.emf"/><Relationship Id="rId5" Type="http://schemas.openxmlformats.org/officeDocument/2006/relationships/oleObject" Target="../embeddings/oleObject15.bin"/><Relationship Id="rId4" Type="http://schemas.openxmlformats.org/officeDocument/2006/relationships/notesSlide" Target="../notesSlides/notesSlide4.xml"/><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13.xml"/><Relationship Id="rId7" Type="http://schemas.openxmlformats.org/officeDocument/2006/relationships/image" Target="../media/image22.png"/><Relationship Id="rId12" Type="http://schemas.openxmlformats.org/officeDocument/2006/relationships/image" Target="../media/image45.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1.emf"/><Relationship Id="rId11" Type="http://schemas.openxmlformats.org/officeDocument/2006/relationships/image" Target="../media/image44.jpeg"/><Relationship Id="rId5" Type="http://schemas.openxmlformats.org/officeDocument/2006/relationships/oleObject" Target="../embeddings/oleObject16.bin"/><Relationship Id="rId10" Type="http://schemas.openxmlformats.org/officeDocument/2006/relationships/image" Target="../media/image43.jpeg"/><Relationship Id="rId4" Type="http://schemas.openxmlformats.org/officeDocument/2006/relationships/notesSlide" Target="../notesSlides/notesSlide5.xml"/><Relationship Id="rId9" Type="http://schemas.openxmlformats.org/officeDocument/2006/relationships/image" Target="../media/image42.jpe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6.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1.emf"/><Relationship Id="rId11" Type="http://schemas.openxmlformats.org/officeDocument/2006/relationships/image" Target="../media/image26.png"/><Relationship Id="rId5" Type="http://schemas.openxmlformats.org/officeDocument/2006/relationships/oleObject" Target="../embeddings/oleObject13.bin"/><Relationship Id="rId10" Type="http://schemas.openxmlformats.org/officeDocument/2006/relationships/image" Target="../media/image25.png"/><Relationship Id="rId4" Type="http://schemas.openxmlformats.org/officeDocument/2006/relationships/notesSlide" Target="../notesSlides/notesSlide1.xml"/><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611BF-8160-44B3-808D-163F9DA17BE4}"/>
              </a:ext>
            </a:extLst>
          </p:cNvPr>
          <p:cNvSpPr>
            <a:spLocks noGrp="1"/>
          </p:cNvSpPr>
          <p:nvPr>
            <p:ph type="ctrTitle"/>
          </p:nvPr>
        </p:nvSpPr>
        <p:spPr>
          <a:xfrm>
            <a:off x="6059520" y="1926496"/>
            <a:ext cx="4125304" cy="1804478"/>
          </a:xfrm>
        </p:spPr>
        <p:txBody>
          <a:bodyPr/>
          <a:lstStyle/>
          <a:p>
            <a:pPr algn="ctr"/>
            <a:r>
              <a:rPr lang="en-US"/>
              <a:t>WELCOME!</a:t>
            </a:r>
            <a:br>
              <a:rPr lang="en-US"/>
            </a:br>
            <a:r>
              <a:rPr lang="en-US" sz="2400"/>
              <a:t>August Contractor Safety Meeting</a:t>
            </a:r>
            <a:endParaRPr lang="en-US"/>
          </a:p>
        </p:txBody>
      </p:sp>
      <p:sp>
        <p:nvSpPr>
          <p:cNvPr id="3" name="Subtitle 2">
            <a:extLst>
              <a:ext uri="{FF2B5EF4-FFF2-40B4-BE49-F238E27FC236}">
                <a16:creationId xmlns:a16="http://schemas.microsoft.com/office/drawing/2014/main" id="{BB534FD6-59A0-4D62-9D99-5B6A4E67A256}"/>
              </a:ext>
            </a:extLst>
          </p:cNvPr>
          <p:cNvSpPr>
            <a:spLocks noGrp="1"/>
          </p:cNvSpPr>
          <p:nvPr>
            <p:ph type="subTitle" idx="1"/>
          </p:nvPr>
        </p:nvSpPr>
        <p:spPr>
          <a:xfrm>
            <a:off x="6064929" y="4029265"/>
            <a:ext cx="4125304" cy="581114"/>
          </a:xfrm>
        </p:spPr>
        <p:txBody>
          <a:bodyPr/>
          <a:lstStyle/>
          <a:p>
            <a:pPr algn="ctr"/>
            <a:r>
              <a:rPr lang="en-US"/>
              <a:t>August 8</a:t>
            </a:r>
            <a:r>
              <a:rPr lang="en-US" baseline="30000"/>
              <a:t>th</a:t>
            </a:r>
            <a:r>
              <a:rPr lang="en-US"/>
              <a:t>, 2023</a:t>
            </a:r>
          </a:p>
        </p:txBody>
      </p:sp>
    </p:spTree>
    <p:extLst>
      <p:ext uri="{BB962C8B-B14F-4D97-AF65-F5344CB8AC3E}">
        <p14:creationId xmlns:p14="http://schemas.microsoft.com/office/powerpoint/2010/main" val="3552216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542026"/>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50952">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50952">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tlantic Copp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50952">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July 1, 2023 / 8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50952">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Near Miss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92966">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n operator was performing pressure-taking tasks at the washing plant, when he found a piece of </a:t>
                      </a:r>
                      <a:r>
                        <a:rPr lang="en-US" sz="1400" err="1">
                          <a:latin typeface="Arial" panose="020B0604020202020204" pitchFamily="34" charset="0"/>
                          <a:cs typeface="Arial" panose="020B0604020202020204" pitchFamily="34" charset="0"/>
                        </a:rPr>
                        <a:t>Tramex</a:t>
                      </a:r>
                      <a:r>
                        <a:rPr lang="en-US" sz="1400">
                          <a:latin typeface="Arial" panose="020B0604020202020204" pitchFamily="34" charset="0"/>
                          <a:cs typeface="Arial" panose="020B0604020202020204" pitchFamily="34" charset="0"/>
                        </a:rPr>
                        <a:t> steel that had fallen to the level below. The panel was not fastened with grating clamping staples. No other employees were in the area at the time of the incident.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50952">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Falling Objects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50952">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50952">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panose="020B0604020202020204" pitchFamily="34" charset="0"/>
                          <a:cs typeface="Arial" panose="020B0604020202020204" pitchFamily="34" charset="0"/>
                        </a:rPr>
                        <a:t>Significant (3) Likely (3)</a:t>
                      </a:r>
                      <a:endParaRPr lang="en-US" sz="14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56238">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a:solidFill>
                            <a:schemeClr val="tx1"/>
                          </a:solidFill>
                          <a:latin typeface="Arial" panose="020B0604020202020204" pitchFamily="34" charset="0"/>
                          <a:ea typeface="+mn-ea"/>
                          <a:cs typeface="Arial" panose="020B0604020202020204" pitchFamily="34" charset="0"/>
                        </a:rPr>
                        <a:t>Fastening pieces of grating missing</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56238">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panose="020B0604020202020204" pitchFamily="34" charset="0"/>
                          <a:ea typeface="+mn-ea"/>
                          <a:cs typeface="Arial" panose="020B0604020202020204" pitchFamily="34" charset="0"/>
                        </a:rPr>
                        <a:t>FCX-HS02 Working at Heights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50952">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28968">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Alejandro Paz Garcia, Head of Acid Factories</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34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906839"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Fall of Loose </a:t>
            </a:r>
            <a:r>
              <a:rPr kumimoji="0" lang="en-US" altLang="en-US" b="0" i="0" u="none" strike="noStrike" cap="none" normalizeH="0" baseline="0" err="1">
                <a:ln>
                  <a:noFill/>
                </a:ln>
                <a:solidFill>
                  <a:schemeClr val="tx1"/>
                </a:solidFill>
                <a:effectLst/>
              </a:rPr>
              <a:t>Tramex</a:t>
            </a:r>
            <a:r>
              <a:rPr kumimoji="0" lang="en-US" altLang="en-US" b="0" i="0" u="none" strike="noStrike" cap="none" normalizeH="0" baseline="0">
                <a:ln>
                  <a:noFill/>
                </a:ln>
                <a:solidFill>
                  <a:schemeClr val="tx1"/>
                </a:solidFill>
                <a:effectLst/>
              </a:rPr>
              <a:t> to Lower Level</a:t>
            </a:r>
          </a:p>
        </p:txBody>
      </p:sp>
      <p:pic>
        <p:nvPicPr>
          <p:cNvPr id="10" name="Picture 4">
            <a:extLst>
              <a:ext uri="{FF2B5EF4-FFF2-40B4-BE49-F238E27FC236}">
                <a16:creationId xmlns:a16="http://schemas.microsoft.com/office/drawing/2014/main" id="{DA51387C-C3B8-49CA-8D69-728A3F31187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8572" y="162411"/>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61442" name="Picture 2">
            <a:extLst>
              <a:ext uri="{FF2B5EF4-FFF2-40B4-BE49-F238E27FC236}">
                <a16:creationId xmlns:a16="http://schemas.microsoft.com/office/drawing/2014/main" id="{DA8F3418-3C3C-4D8C-9C4A-ADBBC7069F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6044" y="1403498"/>
            <a:ext cx="2180635" cy="2966483"/>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a:extLst>
              <a:ext uri="{FF2B5EF4-FFF2-40B4-BE49-F238E27FC236}">
                <a16:creationId xmlns:a16="http://schemas.microsoft.com/office/drawing/2014/main" id="{0C66A321-C2F7-4BB1-8434-5505535812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00349" y="1403498"/>
            <a:ext cx="1998293" cy="2966484"/>
          </a:xfrm>
          <a:prstGeom prst="rect">
            <a:avLst/>
          </a:prstGeom>
          <a:noFill/>
          <a:extLst>
            <a:ext uri="{909E8E84-426E-40DD-AFC4-6F175D3DCCD1}">
              <a14:hiddenFill xmlns:a14="http://schemas.microsoft.com/office/drawing/2010/main">
                <a:solidFill>
                  <a:srgbClr val="FFFFFF"/>
                </a:solidFill>
              </a14:hiddenFill>
            </a:ext>
          </a:extLst>
        </p:spPr>
      </p:pic>
      <p:pic>
        <p:nvPicPr>
          <p:cNvPr id="61446" name="Picture 6">
            <a:extLst>
              <a:ext uri="{FF2B5EF4-FFF2-40B4-BE49-F238E27FC236}">
                <a16:creationId xmlns:a16="http://schemas.microsoft.com/office/drawing/2014/main" id="{41665F9F-E4A8-4B4D-B7E7-2B594C7E0BA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49786" y="1403499"/>
            <a:ext cx="1658672" cy="296648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a:extLst>
              <a:ext uri="{FF2B5EF4-FFF2-40B4-BE49-F238E27FC236}">
                <a16:creationId xmlns:a16="http://schemas.microsoft.com/office/drawing/2014/main" id="{A8C8C897-9A88-4563-B34E-9DC2FB271EF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36044" y="4369981"/>
            <a:ext cx="5572414" cy="2267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539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7009896" y="6031750"/>
            <a:ext cx="4073285" cy="226425"/>
          </a:xfrm>
        </p:spPr>
        <p:txBody>
          <a:bodyPr/>
          <a:lstStyle/>
          <a:p>
            <a:pPr marL="0" indent="0">
              <a:buNone/>
            </a:pPr>
            <a:r>
              <a:rPr lang="en-US" sz="1200" i="1">
                <a:latin typeface="Arial" panose="020B0604020202020204" pitchFamily="34" charset="0"/>
                <a:cs typeface="Arial" panose="020B0604020202020204" pitchFamily="34" charset="0"/>
              </a:rPr>
              <a:t>Final location of haul truck </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Haul Truck Drives through Berm</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512008"/>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Climax</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July 5, 2023 / 5:18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Property Damage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A fully loaded haul truck was traveling downhill on a haul road and failed to make a turn. The truck went through two berms before coming to a stop against the face of a hill near a steep drop off. The contractor driver was assessed at the clinic and released without any injurie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Vehicle Collision or Rollover </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Significant (3) Possible (2) / TBD</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Failure to engage downhill speed control</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Interaction with Heavy Mobile Equipment (2.6)</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No injur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521837">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Tanner Thetford, Superintendent-Mine Operation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00806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23-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Placeholder 6" descr="A dump truck on a hill&#10;&#10;Description automatically generated">
            <a:extLst>
              <a:ext uri="{FF2B5EF4-FFF2-40B4-BE49-F238E27FC236}">
                <a16:creationId xmlns:a16="http://schemas.microsoft.com/office/drawing/2014/main" id="{50A778AA-BDA8-4BDC-A0EC-55A14F28D8A8}"/>
              </a:ext>
            </a:extLst>
          </p:cNvPr>
          <p:cNvPicPr>
            <a:picLocks noChangeAspect="1"/>
          </p:cNvPicPr>
          <p:nvPr/>
        </p:nvPicPr>
        <p:blipFill rotWithShape="1">
          <a:blip r:embed="rId3">
            <a:extLst>
              <a:ext uri="{28A0092B-C50C-407E-A947-70E740481C1C}">
                <a14:useLocalDpi xmlns:a14="http://schemas.microsoft.com/office/drawing/2010/main" val="0"/>
              </a:ext>
            </a:extLst>
          </a:blip>
          <a:srcRect l="11502" r="11502"/>
          <a:stretch/>
        </p:blipFill>
        <p:spPr>
          <a:xfrm>
            <a:off x="6882255" y="1602143"/>
            <a:ext cx="4515847" cy="4272247"/>
          </a:xfrm>
          <a:prstGeom prst="rect">
            <a:avLst/>
          </a:prstGeom>
        </p:spPr>
      </p:pic>
      <p:pic>
        <p:nvPicPr>
          <p:cNvPr id="13" name="Picture 12" descr="Logo, icon&#10;&#10;Description automatically generated">
            <a:extLst>
              <a:ext uri="{FF2B5EF4-FFF2-40B4-BE49-F238E27FC236}">
                <a16:creationId xmlns:a16="http://schemas.microsoft.com/office/drawing/2014/main" id="{B6A2DC6A-23D4-4B19-B134-34DF2A59E3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810" y="78361"/>
            <a:ext cx="885783" cy="767342"/>
          </a:xfrm>
          <a:prstGeom prst="rect">
            <a:avLst/>
          </a:prstGeom>
        </p:spPr>
      </p:pic>
    </p:spTree>
    <p:extLst>
      <p:ext uri="{BB962C8B-B14F-4D97-AF65-F5344CB8AC3E}">
        <p14:creationId xmlns:p14="http://schemas.microsoft.com/office/powerpoint/2010/main" val="415760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7EB67-449C-4F51-B176-77923517CC1A}"/>
              </a:ext>
            </a:extLst>
          </p:cNvPr>
          <p:cNvSpPr>
            <a:spLocks noGrp="1"/>
          </p:cNvSpPr>
          <p:nvPr>
            <p:ph type="title"/>
          </p:nvPr>
        </p:nvSpPr>
        <p:spPr>
          <a:xfrm>
            <a:off x="2895601" y="271619"/>
            <a:ext cx="5178878" cy="533203"/>
          </a:xfrm>
          <a:prstGeom prst="rect">
            <a:avLst/>
          </a:prstGeom>
        </p:spPr>
        <p:txBody>
          <a:bodyPr/>
          <a:lstStyle/>
          <a:p>
            <a:r>
              <a:rPr lang="en-US"/>
              <a:t>Brush Fire Caused By Dozer Spark</a:t>
            </a:r>
          </a:p>
        </p:txBody>
      </p:sp>
      <p:pic>
        <p:nvPicPr>
          <p:cNvPr id="7" name="Picture 7" descr="A dirt road with bushes and a blue sky&#10;&#10;Description automatically generated">
            <a:extLst>
              <a:ext uri="{FF2B5EF4-FFF2-40B4-BE49-F238E27FC236}">
                <a16:creationId xmlns:a16="http://schemas.microsoft.com/office/drawing/2014/main" id="{F28723D0-641C-E205-A989-5ADCE7CDBCAE}"/>
              </a:ext>
            </a:extLst>
          </p:cNvPr>
          <p:cNvPicPr>
            <a:picLocks noGrp="1" noChangeAspect="1"/>
          </p:cNvPicPr>
          <p:nvPr>
            <p:ph type="pic" sz="quarter" idx="4294967295"/>
          </p:nvPr>
        </p:nvPicPr>
        <p:blipFill>
          <a:blip r:embed="rId2"/>
          <a:stretch>
            <a:fillRect/>
          </a:stretch>
        </p:blipFill>
        <p:spPr>
          <a:xfrm>
            <a:off x="9868241" y="1593872"/>
            <a:ext cx="1854675" cy="2403467"/>
          </a:xfrm>
          <a:prstGeom prst="rect">
            <a:avLst/>
          </a:prstGeom>
        </p:spPr>
      </p:pic>
      <p:pic>
        <p:nvPicPr>
          <p:cNvPr id="6" name="Picture 6" descr="Smoke on a mountain with trees and bushes&#10;&#10;Description automatically generated">
            <a:extLst>
              <a:ext uri="{FF2B5EF4-FFF2-40B4-BE49-F238E27FC236}">
                <a16:creationId xmlns:a16="http://schemas.microsoft.com/office/drawing/2014/main" id="{09E44FE6-8307-B67F-7E84-D24F6FD7571A}"/>
              </a:ext>
            </a:extLst>
          </p:cNvPr>
          <p:cNvPicPr>
            <a:picLocks noGrp="1" noChangeAspect="1"/>
          </p:cNvPicPr>
          <p:nvPr>
            <p:ph type="pic" sz="quarter" idx="4294967295"/>
          </p:nvPr>
        </p:nvPicPr>
        <p:blipFill>
          <a:blip r:embed="rId3"/>
          <a:stretch>
            <a:fillRect/>
          </a:stretch>
        </p:blipFill>
        <p:spPr>
          <a:xfrm>
            <a:off x="6518944" y="1593872"/>
            <a:ext cx="3133145" cy="2403467"/>
          </a:xfrm>
          <a:prstGeom prst="rect">
            <a:avLst/>
          </a:prstGeom>
        </p:spPr>
      </p:pic>
      <p:pic>
        <p:nvPicPr>
          <p:cNvPr id="8" name="Picture 8" descr="A large dirt road with a large truck driving down a hill&#10;&#10;Description automatically generated">
            <a:extLst>
              <a:ext uri="{FF2B5EF4-FFF2-40B4-BE49-F238E27FC236}">
                <a16:creationId xmlns:a16="http://schemas.microsoft.com/office/drawing/2014/main" id="{2E6AA189-6E49-56D7-C7B2-CC1B309A3C97}"/>
              </a:ext>
            </a:extLst>
          </p:cNvPr>
          <p:cNvPicPr>
            <a:picLocks noGrp="1" noChangeAspect="1"/>
          </p:cNvPicPr>
          <p:nvPr>
            <p:ph type="pic" sz="quarter" idx="4294967295"/>
          </p:nvPr>
        </p:nvPicPr>
        <p:blipFill>
          <a:blip r:embed="rId4"/>
          <a:stretch>
            <a:fillRect/>
          </a:stretch>
        </p:blipFill>
        <p:spPr>
          <a:xfrm>
            <a:off x="6544038" y="4339419"/>
            <a:ext cx="5178878" cy="2034565"/>
          </a:xfrm>
          <a:prstGeom prst="rect">
            <a:avLst/>
          </a:prstGeom>
        </p:spPr>
      </p:pic>
      <p:graphicFrame>
        <p:nvGraphicFramePr>
          <p:cNvPr id="19" name="Table 2">
            <a:extLst>
              <a:ext uri="{FF2B5EF4-FFF2-40B4-BE49-F238E27FC236}">
                <a16:creationId xmlns:a16="http://schemas.microsoft.com/office/drawing/2014/main" id="{2C710F62-8285-48F5-B5C7-F51A0141609B}"/>
              </a:ext>
            </a:extLst>
          </p:cNvPr>
          <p:cNvGraphicFramePr>
            <a:graphicFrameLocks noGrp="1"/>
          </p:cNvGraphicFramePr>
          <p:nvPr/>
        </p:nvGraphicFramePr>
        <p:xfrm>
          <a:off x="275207" y="1084846"/>
          <a:ext cx="5851269" cy="5527463"/>
        </p:xfrm>
        <a:graphic>
          <a:graphicData uri="http://schemas.openxmlformats.org/drawingml/2006/table">
            <a:tbl>
              <a:tblPr firstRow="1" bandRow="1">
                <a:tableStyleId>{1FECB4D8-DB02-4DC6-A0A2-4F2EBAE1DC90}</a:tableStyleId>
              </a:tblPr>
              <a:tblGrid>
                <a:gridCol w="1585726">
                  <a:extLst>
                    <a:ext uri="{9D8B030D-6E8A-4147-A177-3AD203B41FA5}">
                      <a16:colId xmlns:a16="http://schemas.microsoft.com/office/drawing/2014/main" val="2478897174"/>
                    </a:ext>
                  </a:extLst>
                </a:gridCol>
                <a:gridCol w="4265543">
                  <a:extLst>
                    <a:ext uri="{9D8B030D-6E8A-4147-A177-3AD203B41FA5}">
                      <a16:colId xmlns:a16="http://schemas.microsoft.com/office/drawing/2014/main" val="1434738273"/>
                    </a:ext>
                  </a:extLst>
                </a:gridCol>
              </a:tblGrid>
              <a:tr h="277122">
                <a:tc gridSpan="2">
                  <a:txBody>
                    <a:bodyPr/>
                    <a:lstStyle/>
                    <a:p>
                      <a:pPr algn="ctr"/>
                      <a:r>
                        <a:rPr lang="en-US" sz="1400">
                          <a:solidFill>
                            <a:schemeClr val="tx1"/>
                          </a:solidFill>
                          <a:latin typeface="Arial" panose="020B0604020202020204" pitchFamily="34" charset="0"/>
                          <a:cs typeface="Arial" panose="020B0604020202020204" pitchFamily="34" charset="0"/>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5800B"/>
                    </a:solidFill>
                  </a:tcPr>
                </a:tc>
                <a:tc hMerge="1">
                  <a:txBody>
                    <a:bodyPr/>
                    <a:lstStyle/>
                    <a:p>
                      <a:endParaRPr lang="en-US"/>
                    </a:p>
                  </a:txBody>
                  <a:tcPr/>
                </a:tc>
                <a:extLst>
                  <a:ext uri="{0D108BD9-81ED-4DB2-BD59-A6C34878D82A}">
                    <a16:rowId xmlns:a16="http://schemas.microsoft.com/office/drawing/2014/main" val="2528705209"/>
                  </a:ext>
                </a:extLst>
              </a:tr>
              <a:tr h="247641">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a:latin typeface="Arial" panose="020B0604020202020204" pitchFamily="34" charset="0"/>
                          <a:cs typeface="Arial" panose="020B0604020202020204" pitchFamily="34" charset="0"/>
                        </a:rPr>
                        <a:t>Bagdad</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47641">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July 6, 2023 / 2:15 p.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47641">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Property Damage</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855480">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A brush fire started with a spark from a CAT dozer track while the contractor operator was dressing the slope of an access road to a new work area. The water truck was enroute to refill the tank, and no replacement truck was available. A call to 911 was placed immediately and the local fire department dispatched to site. The contractor company then dispatched multiple vehicles to help contain and disperse the fire. The fire department arrived and monitored the contractor’s response. About two hours later, the fire was extinguished. Smoldering vegetation was covered with soil. A fire watch began and was maintained throughout the night.</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47641">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Fire</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662083">
                <a:tc>
                  <a:txBody>
                    <a:bodyPr/>
                    <a:lstStyle/>
                    <a:p>
                      <a:r>
                        <a:rPr lang="en-US" sz="1000" b="1">
                          <a:latin typeface="Arial"/>
                          <a:cs typeface="Arial"/>
                        </a:rPr>
                        <a:t>Probable Direct Cause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Failure to follow fire prevention plan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Water truck was not present and available</a:t>
                      </a:r>
                    </a:p>
                    <a:p>
                      <a:pPr marL="171450" indent="-171450">
                        <a:buFont typeface="Arial" panose="020B0604020202020204" pitchFamily="34" charset="0"/>
                        <a:buChar char="•"/>
                      </a:pPr>
                      <a:r>
                        <a:rPr lang="en-US" sz="1050">
                          <a:latin typeface="Arial"/>
                          <a:cs typeface="Arial"/>
                        </a:rPr>
                        <a:t>Dedicated spotter was not at work location</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339626">
                <a:tc>
                  <a:txBody>
                    <a:bodyPr/>
                    <a:lstStyle/>
                    <a:p>
                      <a:r>
                        <a:rPr lang="en-US" sz="1000" b="1">
                          <a:latin typeface="Arial"/>
                          <a:cs typeface="Arial"/>
                        </a:rPr>
                        <a:t>Immediate Corrective Action(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a:cs typeface="Arial"/>
                        </a:rPr>
                        <a:t>Held safety stand down</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884102">
                <a:tc>
                  <a:txBody>
                    <a:bodyPr/>
                    <a:lstStyle/>
                    <a:p>
                      <a:r>
                        <a:rPr lang="en-US" sz="1000" b="1">
                          <a:latin typeface="Arial"/>
                          <a:cs typeface="Arial"/>
                        </a:rPr>
                        <a:t>Required Action(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Update fire prevention plan to better specify water availability requirement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Require additional 50-foot prewetting buffer</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onstruct additional water ponds and piping</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onsider fire prevention training with local department for select personnel</a:t>
                      </a:r>
                    </a:p>
                  </a:txBody>
                  <a:tcPr anchor="ctr">
                    <a:lnR w="9525">
                      <a:solidFill>
                        <a:schemeClr val="bg1">
                          <a:lumMod val="65000"/>
                        </a:schemeClr>
                      </a:solidFill>
                    </a:lnR>
                    <a:noFill/>
                  </a:tcPr>
                </a:tc>
                <a:extLst>
                  <a:ext uri="{0D108BD9-81ED-4DB2-BD59-A6C34878D82A}">
                    <a16:rowId xmlns:a16="http://schemas.microsoft.com/office/drawing/2014/main" val="3284693806"/>
                  </a:ext>
                </a:extLst>
              </a:tr>
              <a:tr h="152595">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b="0" i="0" u="none" strike="noStrike" noProof="0">
                          <a:latin typeface="Arial"/>
                        </a:rPr>
                        <a:t>Daniel Olave, Senior Health and Safety Lead</a:t>
                      </a:r>
                      <a:endParaRPr lang="en-US" sz="1800"/>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DF8EB8BF-A1A0-4663-9DE4-D197E653EF4B}"/>
              </a:ext>
            </a:extLst>
          </p:cNvPr>
          <p:cNvGraphicFramePr>
            <a:graphicFrameLocks noGrp="1"/>
          </p:cNvGraphicFramePr>
          <p:nvPr/>
        </p:nvGraphicFramePr>
        <p:xfrm>
          <a:off x="9362908" y="484016"/>
          <a:ext cx="2440024" cy="397069"/>
        </p:xfrm>
        <a:graphic>
          <a:graphicData uri="http://schemas.openxmlformats.org/drawingml/2006/table">
            <a:tbl>
              <a:tblPr firstRow="1" bandRow="1">
                <a:tableStyleId>{5C22544A-7EE6-4342-B048-85BDC9FD1C3A}</a:tableStyleId>
              </a:tblPr>
              <a:tblGrid>
                <a:gridCol w="24400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081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descr="Logo, icon&#10;&#10;Description automatically generated">
            <a:extLst>
              <a:ext uri="{FF2B5EF4-FFF2-40B4-BE49-F238E27FC236}">
                <a16:creationId xmlns:a16="http://schemas.microsoft.com/office/drawing/2014/main" id="{EE89C96F-FC76-43FB-AB06-8410C59A31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810" y="85695"/>
            <a:ext cx="885783" cy="767342"/>
          </a:xfrm>
          <a:prstGeom prst="rect">
            <a:avLst/>
          </a:prstGeom>
        </p:spPr>
      </p:pic>
    </p:spTree>
    <p:extLst>
      <p:ext uri="{BB962C8B-B14F-4D97-AF65-F5344CB8AC3E}">
        <p14:creationId xmlns:p14="http://schemas.microsoft.com/office/powerpoint/2010/main" val="23423954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468448"/>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39243">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39243">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Bagdad</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39243">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July 12, 2023 / 6:15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39243">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Near Mi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15404">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Haul truck driver (A) on spot three at the Lucy Fuel Dock had the truck locked out to perform a pre-shift inspection. Driver A needed to use the brown hose, then resumed the inspection but returned to spot four instead of spot three. Haul truck driver (B) on spot four stepped out to clean the driver’s side mirror and saw Driver A step under the truck. Driver B yelled to get the attention of Driver A, who realized the error and called for a supervisor.</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39243">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Vehicle Impact on Person</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39243">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39243">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a:t>
                      </a:r>
                      <a:endParaRPr lang="en-US" sz="12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41016">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N/A</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41016">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N/A</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39243">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17992">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 Zach Maughan, Superintendent-Mine Operations</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25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411670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Employee in Wrong Spo</a:t>
            </a:r>
            <a:r>
              <a:rPr lang="en-US" altLang="en-US"/>
              <a:t>t at Fuel Dock</a:t>
            </a:r>
            <a:endParaRPr kumimoji="0" lang="en-US" altLang="en-US" b="0" i="0" u="none" strike="noStrike" cap="none" normalizeH="0" baseline="0">
              <a:ln>
                <a:noFill/>
              </a:ln>
              <a:solidFill>
                <a:schemeClr val="tx1"/>
              </a:solidFill>
              <a:effectLst/>
            </a:endParaRPr>
          </a:p>
        </p:txBody>
      </p:sp>
      <p:pic>
        <p:nvPicPr>
          <p:cNvPr id="14" name="Picture 10">
            <a:extLst>
              <a:ext uri="{FF2B5EF4-FFF2-40B4-BE49-F238E27FC236}">
                <a16:creationId xmlns:a16="http://schemas.microsoft.com/office/drawing/2014/main" id="{9E1CD806-E252-400F-909E-15D6D22A1B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7327"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629D3DD6-0F64-402C-ACCD-08A3B7D81F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1656" y="1865221"/>
            <a:ext cx="5357953" cy="3451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347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83542" y="1072055"/>
          <a:ext cx="5862153" cy="5549460"/>
        </p:xfrm>
        <a:graphic>
          <a:graphicData uri="http://schemas.openxmlformats.org/drawingml/2006/table">
            <a:tbl>
              <a:tblPr firstRow="1" bandRow="1">
                <a:tableStyleId>{1FECB4D8-DB02-4DC6-A0A2-4F2EBAE1DC90}</a:tableStyleId>
              </a:tblPr>
              <a:tblGrid>
                <a:gridCol w="1588673">
                  <a:extLst>
                    <a:ext uri="{9D8B030D-6E8A-4147-A177-3AD203B41FA5}">
                      <a16:colId xmlns:a16="http://schemas.microsoft.com/office/drawing/2014/main" val="2478897174"/>
                    </a:ext>
                  </a:extLst>
                </a:gridCol>
                <a:gridCol w="4273480">
                  <a:extLst>
                    <a:ext uri="{9D8B030D-6E8A-4147-A177-3AD203B41FA5}">
                      <a16:colId xmlns:a16="http://schemas.microsoft.com/office/drawing/2014/main" val="1434738273"/>
                    </a:ext>
                  </a:extLst>
                </a:gridCol>
              </a:tblGrid>
              <a:tr h="35590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38111">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Bagdad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38111">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July 24, 2023 / 2:3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38111">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Near Mi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05573">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While moving the 10 Shovel to the North 3 pushback the shovel interacted (came into contact/proximity, unsure of which) with powerlines on the ramp causing the lines to go to ground and the other shovels 8,11, &amp; 22 to lose power. Berm was moved so the drillers could operate and was not moved back to original location.</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38111">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Exposure to Electrical Hazards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38111">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38111">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a:t>
                      </a:r>
                      <a:endParaRPr lang="en-US" sz="12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605041">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Failure to perform spotting expectations</a:t>
                      </a:r>
                    </a:p>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Berm was not moved back to original locatio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513641">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Shovel Move Policy FCX 20</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5590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84725">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 Zach Maughan, Mine Superintendent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57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241272"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Shovel Contacts Power Lines</a:t>
            </a:r>
          </a:p>
        </p:txBody>
      </p:sp>
      <p:pic>
        <p:nvPicPr>
          <p:cNvPr id="9" name="Picture 8">
            <a:extLst>
              <a:ext uri="{FF2B5EF4-FFF2-40B4-BE49-F238E27FC236}">
                <a16:creationId xmlns:a16="http://schemas.microsoft.com/office/drawing/2014/main" id="{73007320-3895-488F-B860-2AB1787325F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3542" y="140954"/>
            <a:ext cx="777240" cy="675336"/>
          </a:xfrm>
          <a:prstGeom prst="rect">
            <a:avLst/>
          </a:prstGeom>
        </p:spPr>
      </p:pic>
      <p:pic>
        <p:nvPicPr>
          <p:cNvPr id="1026" name="Picture 2">
            <a:extLst>
              <a:ext uri="{FF2B5EF4-FFF2-40B4-BE49-F238E27FC236}">
                <a16:creationId xmlns:a16="http://schemas.microsoft.com/office/drawing/2014/main" id="{CD47A1EF-46E2-40D2-A430-1878ED94E85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0511" y="1428529"/>
            <a:ext cx="2708385" cy="26021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6826776-E680-4A61-84B3-491898E47A0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54081" y="1428529"/>
            <a:ext cx="3054377" cy="26021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009883C-F88B-4886-9A95-DDDC473C09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30511" y="3895159"/>
            <a:ext cx="2523569" cy="272635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E27BD68-FDDD-48B7-B6F7-9CFC1153C95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54080" y="3895160"/>
            <a:ext cx="3054378" cy="272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9896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7066686" y="5459699"/>
            <a:ext cx="4009409" cy="760347"/>
          </a:xfrm>
        </p:spPr>
        <p:txBody>
          <a:bodyPr>
            <a:noAutofit/>
          </a:bodyPr>
          <a:lstStyle/>
          <a:p>
            <a:pPr marL="0" indent="0">
              <a:buNone/>
            </a:pPr>
            <a:r>
              <a:rPr lang="en-US" sz="1200" i="1">
                <a:latin typeface="Arial" panose="020B0604020202020204" pitchFamily="34" charset="0"/>
                <a:cs typeface="Arial" panose="020B0604020202020204" pitchFamily="34" charset="0"/>
              </a:rPr>
              <a:t>An employee was injured when a skid steer lurched forward, knocking the employee to the ground and running over the employee’s leg.</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Employee Injured By Skid Stee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60958" y="1068148"/>
          <a:ext cx="5735041" cy="5487978"/>
        </p:xfrm>
        <a:graphic>
          <a:graphicData uri="http://schemas.openxmlformats.org/drawingml/2006/table">
            <a:tbl>
              <a:tblPr firstRow="1" bandRow="1">
                <a:tableStyleId>{1FECB4D8-DB02-4DC6-A0A2-4F2EBAE1DC90}</a:tableStyleId>
              </a:tblPr>
              <a:tblGrid>
                <a:gridCol w="1194878">
                  <a:extLst>
                    <a:ext uri="{9D8B030D-6E8A-4147-A177-3AD203B41FA5}">
                      <a16:colId xmlns:a16="http://schemas.microsoft.com/office/drawing/2014/main" val="2478897174"/>
                    </a:ext>
                  </a:extLst>
                </a:gridCol>
                <a:gridCol w="4540163">
                  <a:extLst>
                    <a:ext uri="{9D8B030D-6E8A-4147-A177-3AD203B41FA5}">
                      <a16:colId xmlns:a16="http://schemas.microsoft.com/office/drawing/2014/main" val="1434738273"/>
                    </a:ext>
                  </a:extLst>
                </a:gridCol>
              </a:tblGrid>
              <a:tr h="31727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52090">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200">
                          <a:latin typeface="Arial"/>
                          <a:cs typeface="Arial"/>
                        </a:rPr>
                        <a:t>Morenci</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5209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July 26, 2023 / 11 a.m.</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52090">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njury/Illness</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05602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An employee was bringing water to the operator of a skid steer when the vehicle abruptly moved forward, knocking the employee to the ground and running over the employee’s leg. The employee sustained minor injuries.</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5209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Vehicle Impact on Person</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noFill/>
                  </a:tcPr>
                </a:tc>
                <a:extLst>
                  <a:ext uri="{0D108BD9-81ED-4DB2-BD59-A6C34878D82A}">
                    <a16:rowId xmlns:a16="http://schemas.microsoft.com/office/drawing/2014/main" val="1584593686"/>
                  </a:ext>
                </a:extLst>
              </a:tr>
              <a:tr h="404733">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Actionable </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50855670"/>
                  </a:ext>
                </a:extLst>
              </a:tr>
              <a:tr h="412511">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ignificant (3) Likely (3) / TBD</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447941757"/>
                  </a:ext>
                </a:extLst>
              </a:tr>
              <a:tr h="550015">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a:solidFill>
                            <a:schemeClr val="dk1"/>
                          </a:solidFill>
                          <a:latin typeface="Arial" panose="020B0604020202020204" pitchFamily="34" charset="0"/>
                          <a:ea typeface="+mn-ea"/>
                          <a:cs typeface="Arial" panose="020B0604020202020204" pitchFamily="34" charset="0"/>
                        </a:rPr>
                        <a:t>Positive Communication System, Segregation</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3530895994"/>
                  </a:ext>
                </a:extLst>
              </a:tr>
              <a:tr h="562128">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200">
                          <a:latin typeface="Arial"/>
                          <a:cs typeface="Arial"/>
                        </a:rPr>
                        <a:t>Fatal Risk Management Handbook</a:t>
                      </a:r>
                    </a:p>
                    <a:p>
                      <a:pPr marL="171450" indent="-171450">
                        <a:buFont typeface="Arial" panose="020B0604020202020204" pitchFamily="34" charset="0"/>
                        <a:buChar char="•"/>
                      </a:pPr>
                      <a:r>
                        <a:rPr lang="en-US" sz="1200">
                          <a:latin typeface="Arial"/>
                          <a:cs typeface="Arial"/>
                        </a:rPr>
                        <a:t>Skid Steer Task Training (Green Carding)</a:t>
                      </a:r>
                    </a:p>
                    <a:p>
                      <a:pPr marL="171450" indent="-171450">
                        <a:buFont typeface="Arial" panose="020B0604020202020204" pitchFamily="34" charset="0"/>
                        <a:buChar char="•"/>
                      </a:pPr>
                      <a:r>
                        <a:rPr lang="en-US" sz="1200">
                          <a:latin typeface="Arial"/>
                          <a:cs typeface="Arial"/>
                        </a:rPr>
                        <a:t>Skid Steer Training</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745805115"/>
                  </a:ext>
                </a:extLst>
              </a:tr>
              <a:tr h="404733">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Minor Injuries (First Aid)</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935167756"/>
                  </a:ext>
                </a:extLst>
              </a:tr>
              <a:tr h="605326">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Jacob Sweet, Manager-Health and Safety</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Jody Beck, Manager-Crush and Convey</a:t>
                      </a:r>
                    </a:p>
                  </a:txBody>
                  <a:tcPr anchor="ctr">
                    <a:lnL w="0">
                      <a:noFill/>
                    </a:lnL>
                    <a:lnR w="12700" cap="flat" cmpd="sng" algn="ctr">
                      <a:solidFill>
                        <a:schemeClr val="bg1">
                          <a:lumMod val="50000"/>
                        </a:schemeClr>
                      </a:solidFill>
                      <a:prstDash val="solid"/>
                      <a:round/>
                      <a:headEnd type="none" w="med" len="med"/>
                      <a:tailEnd type="none" w="med" len="med"/>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00865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23-1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Vehicle Impact to Person">
            <a:extLst>
              <a:ext uri="{FF2B5EF4-FFF2-40B4-BE49-F238E27FC236}">
                <a16:creationId xmlns:a16="http://schemas.microsoft.com/office/drawing/2014/main" id="{7DF7B381-3527-41CC-BF2D-17C77D055C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958" y="117485"/>
            <a:ext cx="8001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Placeholder 3">
            <a:extLst>
              <a:ext uri="{FF2B5EF4-FFF2-40B4-BE49-F238E27FC236}">
                <a16:creationId xmlns:a16="http://schemas.microsoft.com/office/drawing/2014/main" id="{D3AAC89F-E10E-4A55-9593-25D00A981F4F}"/>
              </a:ext>
            </a:extLst>
          </p:cNvPr>
          <p:cNvPicPr>
            <a:picLocks noGrp="1" noChangeAspect="1"/>
          </p:cNvPicPr>
          <p:nvPr>
            <p:ph type="pic" sz="quarter" idx="17"/>
          </p:nvPr>
        </p:nvPicPr>
        <p:blipFill>
          <a:blip r:embed="rId3"/>
          <a:srcRect t="13389" b="13389"/>
          <a:stretch>
            <a:fillRect/>
          </a:stretch>
        </p:blipFill>
        <p:spPr>
          <a:xfrm>
            <a:off x="7066686" y="1470870"/>
            <a:ext cx="4009409" cy="3914326"/>
          </a:xfrm>
          <a:prstGeom prst="rect">
            <a:avLst/>
          </a:prstGeom>
        </p:spPr>
      </p:pic>
    </p:spTree>
    <p:extLst>
      <p:ext uri="{BB962C8B-B14F-4D97-AF65-F5344CB8AC3E}">
        <p14:creationId xmlns:p14="http://schemas.microsoft.com/office/powerpoint/2010/main" val="1213731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D767F-8294-410C-BF28-2EAAC71D5C4F}"/>
              </a:ext>
            </a:extLst>
          </p:cNvPr>
          <p:cNvSpPr>
            <a:spLocks noGrp="1"/>
          </p:cNvSpPr>
          <p:nvPr>
            <p:ph type="title"/>
          </p:nvPr>
        </p:nvSpPr>
        <p:spPr>
          <a:xfrm>
            <a:off x="2110115" y="407562"/>
            <a:ext cx="7260715" cy="607555"/>
          </a:xfrm>
        </p:spPr>
        <p:txBody>
          <a:bodyPr/>
          <a:lstStyle/>
          <a:p>
            <a:r>
              <a:rPr lang="en-US" sz="2800"/>
              <a:t>Near Miss Clinic Remodel  </a:t>
            </a:r>
            <a:r>
              <a:rPr lang="en-US" sz="1800"/>
              <a:t>Initial Learnings</a:t>
            </a:r>
            <a:endParaRPr lang="en-US" sz="2800"/>
          </a:p>
        </p:txBody>
      </p:sp>
      <p:sp>
        <p:nvSpPr>
          <p:cNvPr id="4" name="Slide Number Placeholder 3">
            <a:extLst>
              <a:ext uri="{FF2B5EF4-FFF2-40B4-BE49-F238E27FC236}">
                <a16:creationId xmlns:a16="http://schemas.microsoft.com/office/drawing/2014/main" id="{1426D53E-97C1-4C74-BB8B-58BDB15F2A8E}"/>
              </a:ext>
            </a:extLst>
          </p:cNvPr>
          <p:cNvSpPr>
            <a:spLocks noGrp="1"/>
          </p:cNvSpPr>
          <p:nvPr>
            <p:ph type="sldNum" sz="quarter" idx="4"/>
          </p:nvPr>
        </p:nvSpPr>
        <p:spPr/>
        <p:txBody>
          <a:bodyPr/>
          <a:lstStyle/>
          <a:p>
            <a:fld id="{B5EB69C0-7537-C24C-BC67-8B5F238D9475}" type="slidenum">
              <a:rPr lang="en-US" smtClean="0"/>
              <a:pPr/>
              <a:t>16</a:t>
            </a:fld>
            <a:endParaRPr lang="en-US"/>
          </a:p>
        </p:txBody>
      </p:sp>
      <p:pic>
        <p:nvPicPr>
          <p:cNvPr id="8" name="Picture 7">
            <a:extLst>
              <a:ext uri="{FF2B5EF4-FFF2-40B4-BE49-F238E27FC236}">
                <a16:creationId xmlns:a16="http://schemas.microsoft.com/office/drawing/2014/main" id="{DAF8D133-94D0-40DC-9630-9A48E98E09C7}"/>
              </a:ext>
            </a:extLst>
          </p:cNvPr>
          <p:cNvPicPr>
            <a:picLocks noChangeAspect="1"/>
          </p:cNvPicPr>
          <p:nvPr/>
        </p:nvPicPr>
        <p:blipFill>
          <a:blip r:embed="rId2"/>
          <a:stretch>
            <a:fillRect/>
          </a:stretch>
        </p:blipFill>
        <p:spPr>
          <a:xfrm>
            <a:off x="1766177" y="4091107"/>
            <a:ext cx="3127488" cy="2359333"/>
          </a:xfrm>
          <a:prstGeom prst="rect">
            <a:avLst/>
          </a:prstGeom>
        </p:spPr>
      </p:pic>
      <p:pic>
        <p:nvPicPr>
          <p:cNvPr id="10" name="Picture 9">
            <a:extLst>
              <a:ext uri="{FF2B5EF4-FFF2-40B4-BE49-F238E27FC236}">
                <a16:creationId xmlns:a16="http://schemas.microsoft.com/office/drawing/2014/main" id="{004AD8B5-ECED-4BC8-B50B-535FC772FC84}"/>
              </a:ext>
            </a:extLst>
          </p:cNvPr>
          <p:cNvPicPr>
            <a:picLocks noChangeAspect="1"/>
          </p:cNvPicPr>
          <p:nvPr/>
        </p:nvPicPr>
        <p:blipFill>
          <a:blip r:embed="rId3"/>
          <a:stretch>
            <a:fillRect/>
          </a:stretch>
        </p:blipFill>
        <p:spPr>
          <a:xfrm>
            <a:off x="1761119" y="1274616"/>
            <a:ext cx="3136256" cy="2359333"/>
          </a:xfrm>
          <a:prstGeom prst="rect">
            <a:avLst/>
          </a:prstGeom>
        </p:spPr>
      </p:pic>
      <p:sp>
        <p:nvSpPr>
          <p:cNvPr id="11" name="TextBox 10">
            <a:extLst>
              <a:ext uri="{FF2B5EF4-FFF2-40B4-BE49-F238E27FC236}">
                <a16:creationId xmlns:a16="http://schemas.microsoft.com/office/drawing/2014/main" id="{6E16865E-47AF-441F-9340-B1C953CF48CD}"/>
              </a:ext>
            </a:extLst>
          </p:cNvPr>
          <p:cNvSpPr txBox="1"/>
          <p:nvPr/>
        </p:nvSpPr>
        <p:spPr>
          <a:xfrm>
            <a:off x="5001520" y="1274615"/>
            <a:ext cx="5215812" cy="3416320"/>
          </a:xfrm>
          <a:prstGeom prst="rect">
            <a:avLst/>
          </a:prstGeom>
          <a:noFill/>
        </p:spPr>
        <p:txBody>
          <a:bodyPr wrap="square" rtlCol="0">
            <a:spAutoFit/>
          </a:bodyPr>
          <a:lstStyle/>
          <a:p>
            <a:r>
              <a:rPr lang="en-US"/>
              <a:t>After job was stopped, eval assumed sub floor level concrete was covering the sewer line. </a:t>
            </a:r>
          </a:p>
          <a:p>
            <a:endParaRPr lang="en-US"/>
          </a:p>
          <a:p>
            <a:r>
              <a:rPr lang="en-US"/>
              <a:t>Our thought processes are affected by perspectives. Perspectives are affected by paradigms.  Paradigms are frames of reference. Frames of reference are historical files in memory and deadlines. </a:t>
            </a:r>
          </a:p>
          <a:p>
            <a:endParaRPr lang="en-US"/>
          </a:p>
          <a:p>
            <a:r>
              <a:rPr lang="en-US"/>
              <a:t>Include Blue Stake surveyors and Safety.</a:t>
            </a:r>
          </a:p>
          <a:p>
            <a:endParaRPr lang="en-US"/>
          </a:p>
          <a:p>
            <a:r>
              <a:rPr lang="en-US"/>
              <a:t>  </a:t>
            </a:r>
          </a:p>
        </p:txBody>
      </p:sp>
      <p:pic>
        <p:nvPicPr>
          <p:cNvPr id="13" name="Picture 12">
            <a:extLst>
              <a:ext uri="{FF2B5EF4-FFF2-40B4-BE49-F238E27FC236}">
                <a16:creationId xmlns:a16="http://schemas.microsoft.com/office/drawing/2014/main" id="{DE08EC96-270D-4F15-BF2B-D8018DE0C0E8}"/>
              </a:ext>
            </a:extLst>
          </p:cNvPr>
          <p:cNvPicPr>
            <a:picLocks noChangeAspect="1"/>
          </p:cNvPicPr>
          <p:nvPr/>
        </p:nvPicPr>
        <p:blipFill>
          <a:blip r:embed="rId4"/>
          <a:stretch>
            <a:fillRect/>
          </a:stretch>
        </p:blipFill>
        <p:spPr>
          <a:xfrm>
            <a:off x="5428962" y="5320004"/>
            <a:ext cx="1717545" cy="1294455"/>
          </a:xfrm>
          <a:prstGeom prst="rect">
            <a:avLst/>
          </a:prstGeom>
        </p:spPr>
      </p:pic>
      <p:pic>
        <p:nvPicPr>
          <p:cNvPr id="15" name="Picture 14">
            <a:extLst>
              <a:ext uri="{FF2B5EF4-FFF2-40B4-BE49-F238E27FC236}">
                <a16:creationId xmlns:a16="http://schemas.microsoft.com/office/drawing/2014/main" id="{0AE7007A-42E4-434C-A139-D5696DC694FB}"/>
              </a:ext>
            </a:extLst>
          </p:cNvPr>
          <p:cNvPicPr>
            <a:picLocks noChangeAspect="1"/>
          </p:cNvPicPr>
          <p:nvPr/>
        </p:nvPicPr>
        <p:blipFill>
          <a:blip r:embed="rId5"/>
          <a:stretch>
            <a:fillRect/>
          </a:stretch>
        </p:blipFill>
        <p:spPr>
          <a:xfrm>
            <a:off x="7513824" y="5301622"/>
            <a:ext cx="1717545" cy="1312836"/>
          </a:xfrm>
          <a:prstGeom prst="rect">
            <a:avLst/>
          </a:prstGeom>
        </p:spPr>
      </p:pic>
    </p:spTree>
    <p:extLst>
      <p:ext uri="{BB962C8B-B14F-4D97-AF65-F5344CB8AC3E}">
        <p14:creationId xmlns:p14="http://schemas.microsoft.com/office/powerpoint/2010/main" val="2342889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0A328-E50E-4DB5-BAF7-358E9F419902}"/>
              </a:ext>
            </a:extLst>
          </p:cNvPr>
          <p:cNvSpPr>
            <a:spLocks noGrp="1"/>
          </p:cNvSpPr>
          <p:nvPr>
            <p:ph type="title"/>
          </p:nvPr>
        </p:nvSpPr>
        <p:spPr/>
        <p:txBody>
          <a:bodyPr/>
          <a:lstStyle/>
          <a:p>
            <a:r>
              <a:rPr lang="en-US"/>
              <a:t>Morenci TRIR</a:t>
            </a:r>
          </a:p>
        </p:txBody>
      </p:sp>
      <p:sp>
        <p:nvSpPr>
          <p:cNvPr id="4" name="Slide Number Placeholder 3">
            <a:extLst>
              <a:ext uri="{FF2B5EF4-FFF2-40B4-BE49-F238E27FC236}">
                <a16:creationId xmlns:a16="http://schemas.microsoft.com/office/drawing/2014/main" id="{4B51D63E-5789-42FF-B705-5C1A6F2E7230}"/>
              </a:ext>
            </a:extLst>
          </p:cNvPr>
          <p:cNvSpPr>
            <a:spLocks noGrp="1"/>
          </p:cNvSpPr>
          <p:nvPr>
            <p:ph type="sldNum" sz="quarter" idx="4"/>
          </p:nvPr>
        </p:nvSpPr>
        <p:spPr/>
        <p:txBody>
          <a:bodyPr/>
          <a:lstStyle/>
          <a:p>
            <a:fld id="{B5EB69C0-7537-C24C-BC67-8B5F238D9475}" type="slidenum">
              <a:rPr lang="en-US" smtClean="0"/>
              <a:pPr/>
              <a:t>17</a:t>
            </a:fld>
            <a:endParaRPr lang="en-US"/>
          </a:p>
        </p:txBody>
      </p:sp>
      <p:pic>
        <p:nvPicPr>
          <p:cNvPr id="6" name="Picture 5">
            <a:extLst>
              <a:ext uri="{FF2B5EF4-FFF2-40B4-BE49-F238E27FC236}">
                <a16:creationId xmlns:a16="http://schemas.microsoft.com/office/drawing/2014/main" id="{22F598FB-D3B6-4AAB-962B-47F2C0F066B3}"/>
              </a:ext>
            </a:extLst>
          </p:cNvPr>
          <p:cNvPicPr>
            <a:picLocks noChangeAspect="1"/>
          </p:cNvPicPr>
          <p:nvPr/>
        </p:nvPicPr>
        <p:blipFill>
          <a:blip r:embed="rId2"/>
          <a:stretch>
            <a:fillRect/>
          </a:stretch>
        </p:blipFill>
        <p:spPr>
          <a:xfrm>
            <a:off x="2110114" y="1481364"/>
            <a:ext cx="7735078" cy="4762802"/>
          </a:xfrm>
          <a:prstGeom prst="rect">
            <a:avLst/>
          </a:prstGeom>
        </p:spPr>
      </p:pic>
    </p:spTree>
    <p:extLst>
      <p:ext uri="{BB962C8B-B14F-4D97-AF65-F5344CB8AC3E}">
        <p14:creationId xmlns:p14="http://schemas.microsoft.com/office/powerpoint/2010/main" val="960210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66622-9EB6-4361-82B5-AF16F363F12F}"/>
              </a:ext>
            </a:extLst>
          </p:cNvPr>
          <p:cNvSpPr>
            <a:spLocks noGrp="1"/>
          </p:cNvSpPr>
          <p:nvPr>
            <p:ph type="title"/>
          </p:nvPr>
        </p:nvSpPr>
        <p:spPr/>
        <p:txBody>
          <a:bodyPr/>
          <a:lstStyle/>
          <a:p>
            <a:r>
              <a:rPr lang="en-US">
                <a:cs typeface="Arial"/>
              </a:rPr>
              <a:t>Contractor TRIR</a:t>
            </a:r>
            <a:endParaRPr lang="en-US"/>
          </a:p>
        </p:txBody>
      </p:sp>
      <p:sp>
        <p:nvSpPr>
          <p:cNvPr id="4" name="Slide Number Placeholder 3">
            <a:extLst>
              <a:ext uri="{FF2B5EF4-FFF2-40B4-BE49-F238E27FC236}">
                <a16:creationId xmlns:a16="http://schemas.microsoft.com/office/drawing/2014/main" id="{BBD66CA4-295B-491A-9360-0C9ABCC71F49}"/>
              </a:ext>
            </a:extLst>
          </p:cNvPr>
          <p:cNvSpPr>
            <a:spLocks noGrp="1"/>
          </p:cNvSpPr>
          <p:nvPr>
            <p:ph type="sldNum" sz="quarter" idx="4"/>
          </p:nvPr>
        </p:nvSpPr>
        <p:spPr/>
        <p:txBody>
          <a:bodyPr/>
          <a:lstStyle/>
          <a:p>
            <a:fld id="{B5EB69C0-7537-C24C-BC67-8B5F238D9475}" type="slidenum">
              <a:rPr lang="en-US" smtClean="0"/>
              <a:pPr/>
              <a:t>18</a:t>
            </a:fld>
            <a:endParaRPr lang="en-US"/>
          </a:p>
        </p:txBody>
      </p:sp>
      <p:pic>
        <p:nvPicPr>
          <p:cNvPr id="8" name="Picture 8" descr="A screenshot of a computer&#10;&#10;Description automatically generated">
            <a:extLst>
              <a:ext uri="{FF2B5EF4-FFF2-40B4-BE49-F238E27FC236}">
                <a16:creationId xmlns:a16="http://schemas.microsoft.com/office/drawing/2014/main" id="{CE4927B8-1355-145C-DE94-EA37858F1E0F}"/>
              </a:ext>
            </a:extLst>
          </p:cNvPr>
          <p:cNvPicPr>
            <a:picLocks noChangeAspect="1"/>
          </p:cNvPicPr>
          <p:nvPr/>
        </p:nvPicPr>
        <p:blipFill>
          <a:blip r:embed="rId2"/>
          <a:stretch>
            <a:fillRect/>
          </a:stretch>
        </p:blipFill>
        <p:spPr>
          <a:xfrm>
            <a:off x="2084973" y="1238745"/>
            <a:ext cx="7796463" cy="5478390"/>
          </a:xfrm>
          <a:prstGeom prst="rect">
            <a:avLst/>
          </a:prstGeom>
        </p:spPr>
      </p:pic>
    </p:spTree>
    <p:extLst>
      <p:ext uri="{BB962C8B-B14F-4D97-AF65-F5344CB8AC3E}">
        <p14:creationId xmlns:p14="http://schemas.microsoft.com/office/powerpoint/2010/main" val="4223386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E93A2-0A15-4A5E-BA78-0F636301832E}"/>
              </a:ext>
            </a:extLst>
          </p:cNvPr>
          <p:cNvSpPr>
            <a:spLocks noGrp="1"/>
          </p:cNvSpPr>
          <p:nvPr>
            <p:ph type="title"/>
          </p:nvPr>
        </p:nvSpPr>
        <p:spPr/>
        <p:txBody>
          <a:bodyPr/>
          <a:lstStyle/>
          <a:p>
            <a:r>
              <a:rPr lang="en-US"/>
              <a:t>Heinrich Pyramid</a:t>
            </a:r>
          </a:p>
        </p:txBody>
      </p:sp>
      <p:sp>
        <p:nvSpPr>
          <p:cNvPr id="4" name="Slide Number Placeholder 3">
            <a:extLst>
              <a:ext uri="{FF2B5EF4-FFF2-40B4-BE49-F238E27FC236}">
                <a16:creationId xmlns:a16="http://schemas.microsoft.com/office/drawing/2014/main" id="{395EEC61-0ED3-4853-8ABE-966FB59D75E7}"/>
              </a:ext>
            </a:extLst>
          </p:cNvPr>
          <p:cNvSpPr>
            <a:spLocks noGrp="1"/>
          </p:cNvSpPr>
          <p:nvPr>
            <p:ph type="sldNum" sz="quarter" idx="4"/>
          </p:nvPr>
        </p:nvSpPr>
        <p:spPr/>
        <p:txBody>
          <a:bodyPr/>
          <a:lstStyle/>
          <a:p>
            <a:fld id="{B5EB69C0-7537-C24C-BC67-8B5F238D9475}" type="slidenum">
              <a:rPr lang="en-US" smtClean="0"/>
              <a:pPr/>
              <a:t>19</a:t>
            </a:fld>
            <a:endParaRPr lang="en-US"/>
          </a:p>
        </p:txBody>
      </p:sp>
      <p:sp>
        <p:nvSpPr>
          <p:cNvPr id="5" name="TextBox 4">
            <a:extLst>
              <a:ext uri="{FF2B5EF4-FFF2-40B4-BE49-F238E27FC236}">
                <a16:creationId xmlns:a16="http://schemas.microsoft.com/office/drawing/2014/main" id="{BCE03DB7-7EE7-4134-A78C-931BE6AF313B}"/>
              </a:ext>
            </a:extLst>
          </p:cNvPr>
          <p:cNvSpPr txBox="1"/>
          <p:nvPr/>
        </p:nvSpPr>
        <p:spPr>
          <a:xfrm>
            <a:off x="6766089" y="1735494"/>
            <a:ext cx="2922199" cy="369332"/>
          </a:xfrm>
          <a:prstGeom prst="rect">
            <a:avLst/>
          </a:prstGeom>
          <a:noFill/>
        </p:spPr>
        <p:txBody>
          <a:bodyPr wrap="square" rtlCol="0">
            <a:spAutoFit/>
          </a:bodyPr>
          <a:lstStyle/>
          <a:p>
            <a:pPr algn="ctr"/>
            <a:r>
              <a:rPr lang="en-US"/>
              <a:t>Theory</a:t>
            </a:r>
          </a:p>
        </p:txBody>
      </p:sp>
      <p:sp>
        <p:nvSpPr>
          <p:cNvPr id="6" name="TextBox 5">
            <a:extLst>
              <a:ext uri="{FF2B5EF4-FFF2-40B4-BE49-F238E27FC236}">
                <a16:creationId xmlns:a16="http://schemas.microsoft.com/office/drawing/2014/main" id="{F050EF85-D4D9-4664-BC5B-B93FC74BB57C}"/>
              </a:ext>
            </a:extLst>
          </p:cNvPr>
          <p:cNvSpPr txBox="1"/>
          <p:nvPr/>
        </p:nvSpPr>
        <p:spPr>
          <a:xfrm>
            <a:off x="8064760" y="2619411"/>
            <a:ext cx="2332653" cy="923330"/>
          </a:xfrm>
          <a:prstGeom prst="rect">
            <a:avLst/>
          </a:prstGeom>
          <a:noFill/>
        </p:spPr>
        <p:txBody>
          <a:bodyPr wrap="square" rtlCol="0">
            <a:spAutoFit/>
          </a:bodyPr>
          <a:lstStyle/>
          <a:p>
            <a:pPr algn="ctr"/>
            <a:r>
              <a:rPr lang="en-US"/>
              <a:t>Is there a base layer below the behavior block?</a:t>
            </a:r>
          </a:p>
        </p:txBody>
      </p:sp>
      <p:sp>
        <p:nvSpPr>
          <p:cNvPr id="7" name="TextBox 6">
            <a:extLst>
              <a:ext uri="{FF2B5EF4-FFF2-40B4-BE49-F238E27FC236}">
                <a16:creationId xmlns:a16="http://schemas.microsoft.com/office/drawing/2014/main" id="{2DECBFBD-5A80-4A3F-8723-1346760A8620}"/>
              </a:ext>
            </a:extLst>
          </p:cNvPr>
          <p:cNvSpPr txBox="1"/>
          <p:nvPr/>
        </p:nvSpPr>
        <p:spPr>
          <a:xfrm>
            <a:off x="7778489" y="4823868"/>
            <a:ext cx="3125755" cy="646331"/>
          </a:xfrm>
          <a:prstGeom prst="rect">
            <a:avLst/>
          </a:prstGeom>
          <a:noFill/>
        </p:spPr>
        <p:txBody>
          <a:bodyPr wrap="square" rtlCol="0">
            <a:spAutoFit/>
          </a:bodyPr>
          <a:lstStyle/>
          <a:p>
            <a:pPr algn="ctr"/>
            <a:endParaRPr lang="en-US"/>
          </a:p>
          <a:p>
            <a:pPr algn="ctr"/>
            <a:r>
              <a:rPr lang="en-US"/>
              <a:t>How to address that?</a:t>
            </a:r>
          </a:p>
        </p:txBody>
      </p:sp>
      <p:pic>
        <p:nvPicPr>
          <p:cNvPr id="45058" name="Picture 2" descr="PPT - Hazard identification and Risk assessment PowerPoint Presentation - ID:7085862">
            <a:extLst>
              <a:ext uri="{FF2B5EF4-FFF2-40B4-BE49-F238E27FC236}">
                <a16:creationId xmlns:a16="http://schemas.microsoft.com/office/drawing/2014/main" id="{EBFE77CA-CFC4-4B18-BF1B-2FC1CCB64B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548" y="1432193"/>
            <a:ext cx="6700416" cy="5018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937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5B91D-0A5E-4BD9-A4C8-CE0C70A3A40C}"/>
              </a:ext>
            </a:extLst>
          </p:cNvPr>
          <p:cNvSpPr>
            <a:spLocks noGrp="1"/>
          </p:cNvSpPr>
          <p:nvPr>
            <p:ph type="title"/>
          </p:nvPr>
        </p:nvSpPr>
        <p:spPr/>
        <p:txBody>
          <a:bodyPr/>
          <a:lstStyle/>
          <a:p>
            <a:r>
              <a:rPr lang="en-US"/>
              <a:t>Agenda </a:t>
            </a:r>
          </a:p>
        </p:txBody>
      </p:sp>
      <p:sp>
        <p:nvSpPr>
          <p:cNvPr id="13" name="Content Placeholder 12">
            <a:extLst>
              <a:ext uri="{FF2B5EF4-FFF2-40B4-BE49-F238E27FC236}">
                <a16:creationId xmlns:a16="http://schemas.microsoft.com/office/drawing/2014/main" id="{EA8627D0-7301-4F56-99B5-985248B5C3BD}"/>
              </a:ext>
            </a:extLst>
          </p:cNvPr>
          <p:cNvSpPr>
            <a:spLocks noGrp="1"/>
          </p:cNvSpPr>
          <p:nvPr>
            <p:ph idx="1"/>
          </p:nvPr>
        </p:nvSpPr>
        <p:spPr/>
        <p:txBody>
          <a:bodyPr vert="horz" lIns="91440" tIns="45720" rIns="91440" bIns="45720" rtlCol="0" anchor="t">
            <a:noAutofit/>
          </a:bodyPr>
          <a:lstStyle/>
          <a:p>
            <a:pPr marL="231140" indent="-231140"/>
            <a:r>
              <a:rPr lang="en-US">
                <a:cs typeface="Arial"/>
              </a:rPr>
              <a:t>Safety Share - SWAPP</a:t>
            </a:r>
            <a:endParaRPr lang="en-US"/>
          </a:p>
          <a:p>
            <a:pPr marL="231140" indent="-231140"/>
            <a:r>
              <a:rPr lang="en-US">
                <a:cs typeface="Arial"/>
              </a:rPr>
              <a:t>Environmental share</a:t>
            </a:r>
            <a:endParaRPr lang="en-US"/>
          </a:p>
          <a:p>
            <a:pPr marL="231140" indent="-231140"/>
            <a:r>
              <a:rPr lang="en-US"/>
              <a:t>Safety Events</a:t>
            </a:r>
          </a:p>
          <a:p>
            <a:pPr marL="231140" indent="-231140"/>
            <a:r>
              <a:rPr lang="en-US"/>
              <a:t>Safety Stats</a:t>
            </a:r>
          </a:p>
          <a:p>
            <a:pPr marL="231140" indent="-231140"/>
            <a:r>
              <a:rPr lang="en-US"/>
              <a:t>FRM TRIR Reduction Plan</a:t>
            </a:r>
          </a:p>
          <a:p>
            <a:pPr marL="570865" lvl="1" indent="-285115"/>
            <a:r>
              <a:rPr lang="en-US"/>
              <a:t>Contractor engagement</a:t>
            </a:r>
          </a:p>
          <a:p>
            <a:pPr marL="688340" lvl="2" indent="-226695"/>
            <a:endParaRPr lang="en-US"/>
          </a:p>
        </p:txBody>
      </p:sp>
      <p:sp>
        <p:nvSpPr>
          <p:cNvPr id="4" name="Slide Number Placeholder 3">
            <a:extLst>
              <a:ext uri="{FF2B5EF4-FFF2-40B4-BE49-F238E27FC236}">
                <a16:creationId xmlns:a16="http://schemas.microsoft.com/office/drawing/2014/main" id="{D2607E6F-AD79-46D1-B5A9-6387F3F7DA96}"/>
              </a:ext>
            </a:extLst>
          </p:cNvPr>
          <p:cNvSpPr>
            <a:spLocks noGrp="1"/>
          </p:cNvSpPr>
          <p:nvPr>
            <p:ph type="sldNum" sz="quarter" idx="4"/>
          </p:nvPr>
        </p:nvSpPr>
        <p:spPr/>
        <p:txBody>
          <a:bodyPr/>
          <a:lstStyle/>
          <a:p>
            <a:fld id="{B5EB69C0-7537-C24C-BC67-8B5F238D9475}" type="slidenum">
              <a:rPr lang="en-US" smtClean="0"/>
              <a:pPr/>
              <a:t>2</a:t>
            </a:fld>
            <a:endParaRPr lang="en-US"/>
          </a:p>
        </p:txBody>
      </p:sp>
    </p:spTree>
    <p:extLst>
      <p:ext uri="{BB962C8B-B14F-4D97-AF65-F5344CB8AC3E}">
        <p14:creationId xmlns:p14="http://schemas.microsoft.com/office/powerpoint/2010/main" val="2895837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E8765-4D45-488F-8C26-3A217F67CC0A}"/>
              </a:ext>
            </a:extLst>
          </p:cNvPr>
          <p:cNvSpPr>
            <a:spLocks noGrp="1"/>
          </p:cNvSpPr>
          <p:nvPr>
            <p:ph type="title"/>
          </p:nvPr>
        </p:nvSpPr>
        <p:spPr/>
        <p:txBody>
          <a:bodyPr/>
          <a:lstStyle/>
          <a:p>
            <a:r>
              <a:rPr lang="en-US"/>
              <a:t>Safety Acknowledgements </a:t>
            </a:r>
          </a:p>
        </p:txBody>
      </p:sp>
      <p:sp>
        <p:nvSpPr>
          <p:cNvPr id="3" name="Content Placeholder 2">
            <a:extLst>
              <a:ext uri="{FF2B5EF4-FFF2-40B4-BE49-F238E27FC236}">
                <a16:creationId xmlns:a16="http://schemas.microsoft.com/office/drawing/2014/main" id="{779A73BE-5DF5-4C53-8ADC-09D607993CD1}"/>
              </a:ext>
            </a:extLst>
          </p:cNvPr>
          <p:cNvSpPr>
            <a:spLocks noGrp="1"/>
          </p:cNvSpPr>
          <p:nvPr>
            <p:ph idx="1"/>
          </p:nvPr>
        </p:nvSpPr>
        <p:spPr>
          <a:xfrm>
            <a:off x="1837428" y="1622159"/>
            <a:ext cx="7929237" cy="4464423"/>
          </a:xfrm>
        </p:spPr>
        <p:txBody>
          <a:bodyPr/>
          <a:lstStyle/>
          <a:p>
            <a:r>
              <a:rPr lang="en-US"/>
              <a:t>Reflect on our recent safety performance</a:t>
            </a:r>
          </a:p>
          <a:p>
            <a:r>
              <a:rPr lang="en-US"/>
              <a:t>Our safety record is unacceptable. </a:t>
            </a:r>
          </a:p>
          <a:p>
            <a:r>
              <a:rPr lang="en-US"/>
              <a:t>Uptick in high- and low-energy events points to acceptance of tolerance for incidents?</a:t>
            </a:r>
          </a:p>
          <a:p>
            <a:r>
              <a:rPr lang="en-US"/>
              <a:t>After refocus efforts, we continue to fall short of our goal to keep people safe.</a:t>
            </a:r>
          </a:p>
          <a:p>
            <a:r>
              <a:rPr lang="en-US"/>
              <a:t>Commitment to safe production </a:t>
            </a:r>
          </a:p>
          <a:p>
            <a:r>
              <a:rPr lang="en-US"/>
              <a:t>As a team, we have a responsibility to get safety back on track. </a:t>
            </a:r>
            <a:r>
              <a:rPr lang="en-US" i="1"/>
              <a:t>It starts today.</a:t>
            </a:r>
          </a:p>
          <a:p>
            <a:r>
              <a:rPr lang="en-US"/>
              <a:t>All employees receiving a safety commitment card</a:t>
            </a:r>
            <a:endParaRPr lang="en-US" b="1"/>
          </a:p>
          <a:p>
            <a:endParaRPr lang="en-US"/>
          </a:p>
          <a:p>
            <a:pPr marL="0" indent="0">
              <a:buNone/>
            </a:pPr>
            <a:endParaRPr lang="en-US"/>
          </a:p>
        </p:txBody>
      </p:sp>
      <p:sp>
        <p:nvSpPr>
          <p:cNvPr id="4" name="Slide Number Placeholder 3">
            <a:extLst>
              <a:ext uri="{FF2B5EF4-FFF2-40B4-BE49-F238E27FC236}">
                <a16:creationId xmlns:a16="http://schemas.microsoft.com/office/drawing/2014/main" id="{8D37487F-60B5-41C8-A409-0E9AC44EDE97}"/>
              </a:ext>
            </a:extLst>
          </p:cNvPr>
          <p:cNvSpPr>
            <a:spLocks noGrp="1"/>
          </p:cNvSpPr>
          <p:nvPr>
            <p:ph type="sldNum" sz="quarter" idx="4"/>
          </p:nvPr>
        </p:nvSpPr>
        <p:spPr/>
        <p:txBody>
          <a:bodyPr/>
          <a:lstStyle/>
          <a:p>
            <a:fld id="{B5EB69C0-7537-C24C-BC67-8B5F238D9475}" type="slidenum">
              <a:rPr lang="en-US" smtClean="0"/>
              <a:pPr/>
              <a:t>20</a:t>
            </a:fld>
            <a:endParaRPr lang="en-US"/>
          </a:p>
        </p:txBody>
      </p:sp>
    </p:spTree>
    <p:extLst>
      <p:ext uri="{BB962C8B-B14F-4D97-AF65-F5344CB8AC3E}">
        <p14:creationId xmlns:p14="http://schemas.microsoft.com/office/powerpoint/2010/main" val="3861504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E31E5-BE7B-41AB-8ADF-AC60552C5D9C}"/>
              </a:ext>
            </a:extLst>
          </p:cNvPr>
          <p:cNvSpPr>
            <a:spLocks noGrp="1"/>
          </p:cNvSpPr>
          <p:nvPr>
            <p:ph type="title"/>
          </p:nvPr>
        </p:nvSpPr>
        <p:spPr>
          <a:xfrm>
            <a:off x="2110115" y="407563"/>
            <a:ext cx="7260715" cy="607555"/>
          </a:xfrm>
        </p:spPr>
        <p:txBody>
          <a:bodyPr anchor="ctr">
            <a:normAutofit/>
          </a:bodyPr>
          <a:lstStyle/>
          <a:p>
            <a:r>
              <a:rPr lang="en-US"/>
              <a:t>Safety Process Checks</a:t>
            </a:r>
          </a:p>
        </p:txBody>
      </p:sp>
      <p:sp>
        <p:nvSpPr>
          <p:cNvPr id="4" name="Slide Number Placeholder 3">
            <a:extLst>
              <a:ext uri="{FF2B5EF4-FFF2-40B4-BE49-F238E27FC236}">
                <a16:creationId xmlns:a16="http://schemas.microsoft.com/office/drawing/2014/main" id="{B5DBE96B-C5F2-4ACE-B73E-66BA09FC0987}"/>
              </a:ext>
            </a:extLst>
          </p:cNvPr>
          <p:cNvSpPr>
            <a:spLocks noGrp="1"/>
          </p:cNvSpPr>
          <p:nvPr>
            <p:ph type="sldNum" sz="quarter" idx="4"/>
          </p:nvPr>
        </p:nvSpPr>
        <p:spPr>
          <a:xfrm>
            <a:off x="9766665" y="6577567"/>
            <a:ext cx="901337" cy="280437"/>
          </a:xfrm>
        </p:spPr>
        <p:txBody>
          <a:bodyPr>
            <a:normAutofit/>
          </a:bodyPr>
          <a:lstStyle/>
          <a:p>
            <a:pPr>
              <a:spcAft>
                <a:spcPts val="600"/>
              </a:spcAft>
            </a:pPr>
            <a:fld id="{B5EB69C0-7537-C24C-BC67-8B5F238D9475}" type="slidenum">
              <a:rPr lang="en-US" smtClean="0"/>
              <a:pPr>
                <a:spcAft>
                  <a:spcPts val="600"/>
                </a:spcAft>
              </a:pPr>
              <a:t>21</a:t>
            </a:fld>
            <a:endParaRPr lang="en-US"/>
          </a:p>
        </p:txBody>
      </p:sp>
      <p:graphicFrame>
        <p:nvGraphicFramePr>
          <p:cNvPr id="6" name="Content Placeholder 2">
            <a:extLst>
              <a:ext uri="{FF2B5EF4-FFF2-40B4-BE49-F238E27FC236}">
                <a16:creationId xmlns:a16="http://schemas.microsoft.com/office/drawing/2014/main" id="{7D3B0A5B-BA83-A322-E352-A9A25E8AB748}"/>
              </a:ext>
            </a:extLst>
          </p:cNvPr>
          <p:cNvGraphicFramePr>
            <a:graphicFrameLocks noGrp="1"/>
          </p:cNvGraphicFramePr>
          <p:nvPr>
            <p:ph idx="1"/>
            <p:extLst>
              <p:ext uri="{D42A27DB-BD31-4B8C-83A1-F6EECF244321}">
                <p14:modId xmlns:p14="http://schemas.microsoft.com/office/powerpoint/2010/main" val="2069911504"/>
              </p:ext>
            </p:extLst>
          </p:nvPr>
        </p:nvGraphicFramePr>
        <p:xfrm>
          <a:off x="2110115" y="1519522"/>
          <a:ext cx="7929237" cy="44644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60715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179C6-6DA7-165E-4BB0-7D48F8607545}"/>
              </a:ext>
            </a:extLst>
          </p:cNvPr>
          <p:cNvSpPr>
            <a:spLocks noGrp="1"/>
          </p:cNvSpPr>
          <p:nvPr>
            <p:ph type="title"/>
          </p:nvPr>
        </p:nvSpPr>
        <p:spPr/>
        <p:txBody>
          <a:bodyPr/>
          <a:lstStyle/>
          <a:p>
            <a:r>
              <a:rPr lang="en-US"/>
              <a:t>FRM Booklets</a:t>
            </a:r>
          </a:p>
        </p:txBody>
      </p:sp>
      <p:sp>
        <p:nvSpPr>
          <p:cNvPr id="8" name="Content Placeholder 7">
            <a:extLst>
              <a:ext uri="{FF2B5EF4-FFF2-40B4-BE49-F238E27FC236}">
                <a16:creationId xmlns:a16="http://schemas.microsoft.com/office/drawing/2014/main" id="{EF780758-2DDD-4F0D-929F-090DC2E73EA1}"/>
              </a:ext>
            </a:extLst>
          </p:cNvPr>
          <p:cNvSpPr>
            <a:spLocks noGrp="1"/>
          </p:cNvSpPr>
          <p:nvPr>
            <p:ph idx="1"/>
          </p:nvPr>
        </p:nvSpPr>
        <p:spPr>
          <a:xfrm>
            <a:off x="7802522" y="1519522"/>
            <a:ext cx="3551279" cy="5058045"/>
          </a:xfrm>
        </p:spPr>
        <p:txBody>
          <a:bodyPr/>
          <a:lstStyle/>
          <a:p>
            <a:r>
              <a:rPr lang="en-US"/>
              <a:t>We need all employees and contractors to understand fatal risk management</a:t>
            </a:r>
          </a:p>
          <a:p>
            <a:endParaRPr lang="en-US"/>
          </a:p>
          <a:p>
            <a:r>
              <a:rPr lang="en-US"/>
              <a:t>We’ll be handing them out after the meeting. If you aren’t here in person, please schedule a time to pick them up for your employees</a:t>
            </a:r>
          </a:p>
        </p:txBody>
      </p:sp>
      <p:sp>
        <p:nvSpPr>
          <p:cNvPr id="4" name="Slide Number Placeholder 3">
            <a:extLst>
              <a:ext uri="{FF2B5EF4-FFF2-40B4-BE49-F238E27FC236}">
                <a16:creationId xmlns:a16="http://schemas.microsoft.com/office/drawing/2014/main" id="{C0E84995-069E-14BB-59CF-44FE8095B744}"/>
              </a:ext>
            </a:extLst>
          </p:cNvPr>
          <p:cNvSpPr>
            <a:spLocks noGrp="1"/>
          </p:cNvSpPr>
          <p:nvPr>
            <p:ph type="sldNum" sz="quarter" idx="4"/>
          </p:nvPr>
        </p:nvSpPr>
        <p:spPr/>
        <p:txBody>
          <a:bodyPr/>
          <a:lstStyle/>
          <a:p>
            <a:fld id="{B5EB69C0-7537-C24C-BC67-8B5F238D9475}" type="slidenum">
              <a:rPr lang="en-US" smtClean="0"/>
              <a:pPr/>
              <a:t>22</a:t>
            </a:fld>
            <a:endParaRPr lang="en-US"/>
          </a:p>
        </p:txBody>
      </p:sp>
      <p:pic>
        <p:nvPicPr>
          <p:cNvPr id="10" name="Picture 9" descr="A yellow and black warning signs&#10;&#10;Description automatically generated">
            <a:extLst>
              <a:ext uri="{FF2B5EF4-FFF2-40B4-BE49-F238E27FC236}">
                <a16:creationId xmlns:a16="http://schemas.microsoft.com/office/drawing/2014/main" id="{866F5857-F4F8-4FC9-82FB-D6ECF31C7C0A}"/>
              </a:ext>
            </a:extLst>
          </p:cNvPr>
          <p:cNvPicPr>
            <a:picLocks noChangeAspect="1"/>
          </p:cNvPicPr>
          <p:nvPr/>
        </p:nvPicPr>
        <p:blipFill>
          <a:blip r:embed="rId2"/>
          <a:stretch>
            <a:fillRect/>
          </a:stretch>
        </p:blipFill>
        <p:spPr>
          <a:xfrm>
            <a:off x="235452" y="1461792"/>
            <a:ext cx="2561987" cy="4213795"/>
          </a:xfrm>
          <a:prstGeom prst="rect">
            <a:avLst/>
          </a:prstGeom>
          <a:ln>
            <a:noFill/>
          </a:ln>
          <a:effectLst>
            <a:outerShdw blurRad="292100" dist="139700" dir="2700000" algn="tl" rotWithShape="0">
              <a:srgbClr val="333333">
                <a:alpha val="65000"/>
              </a:srgbClr>
            </a:outerShdw>
          </a:effectLst>
        </p:spPr>
      </p:pic>
      <p:pic>
        <p:nvPicPr>
          <p:cNvPr id="5" name="Picture 5">
            <a:extLst>
              <a:ext uri="{FF2B5EF4-FFF2-40B4-BE49-F238E27FC236}">
                <a16:creationId xmlns:a16="http://schemas.microsoft.com/office/drawing/2014/main" id="{8C830B65-DD40-95DB-AE2F-77B3CF771BC6}"/>
              </a:ext>
            </a:extLst>
          </p:cNvPr>
          <p:cNvPicPr>
            <a:picLocks noChangeAspect="1"/>
          </p:cNvPicPr>
          <p:nvPr/>
        </p:nvPicPr>
        <p:blipFill>
          <a:blip r:embed="rId3"/>
          <a:stretch>
            <a:fillRect/>
          </a:stretch>
        </p:blipFill>
        <p:spPr>
          <a:xfrm>
            <a:off x="3007202" y="1749719"/>
            <a:ext cx="4585557" cy="4597650"/>
          </a:xfrm>
          <a:prstGeom prst="rect">
            <a:avLst/>
          </a:prstGeom>
        </p:spPr>
      </p:pic>
    </p:spTree>
    <p:extLst>
      <p:ext uri="{BB962C8B-B14F-4D97-AF65-F5344CB8AC3E}">
        <p14:creationId xmlns:p14="http://schemas.microsoft.com/office/powerpoint/2010/main" val="870992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47E13-AC25-4130-BCD0-6E252BD460AF}"/>
              </a:ext>
            </a:extLst>
          </p:cNvPr>
          <p:cNvSpPr>
            <a:spLocks noGrp="1"/>
          </p:cNvSpPr>
          <p:nvPr>
            <p:ph type="title"/>
          </p:nvPr>
        </p:nvSpPr>
        <p:spPr/>
        <p:txBody>
          <a:bodyPr/>
          <a:lstStyle/>
          <a:p>
            <a:r>
              <a:rPr lang="en-US">
                <a:cs typeface="Arial"/>
              </a:rPr>
              <a:t>Safety Commitment Cards</a:t>
            </a:r>
            <a:endParaRPr lang="en-US"/>
          </a:p>
        </p:txBody>
      </p:sp>
      <p:sp>
        <p:nvSpPr>
          <p:cNvPr id="3" name="Content Placeholder 2">
            <a:extLst>
              <a:ext uri="{FF2B5EF4-FFF2-40B4-BE49-F238E27FC236}">
                <a16:creationId xmlns:a16="http://schemas.microsoft.com/office/drawing/2014/main" id="{A955B68D-AD1E-4A6A-861F-8E882B5A8DA2}"/>
              </a:ext>
            </a:extLst>
          </p:cNvPr>
          <p:cNvSpPr>
            <a:spLocks noGrp="1"/>
          </p:cNvSpPr>
          <p:nvPr>
            <p:ph idx="1"/>
          </p:nvPr>
        </p:nvSpPr>
        <p:spPr>
          <a:xfrm>
            <a:off x="781487" y="1519522"/>
            <a:ext cx="5077752" cy="4464423"/>
          </a:xfrm>
        </p:spPr>
        <p:txBody>
          <a:bodyPr/>
          <a:lstStyle/>
          <a:p>
            <a:pPr>
              <a:buFont typeface="Wingdings" panose="05000000000000000000" pitchFamily="2" charset="2"/>
              <a:buChar char="q"/>
            </a:pPr>
            <a:r>
              <a:rPr lang="en-US"/>
              <a:t> Safety is a top priority and core value.</a:t>
            </a:r>
          </a:p>
          <a:p>
            <a:pPr marL="344488" indent="-344488">
              <a:buFont typeface="Wingdings" panose="05000000000000000000" pitchFamily="2" charset="2"/>
              <a:buChar char="q"/>
            </a:pPr>
            <a:r>
              <a:rPr lang="en-US"/>
              <a:t>Each of us has a responsibility to put safety first and hold ourselves and each other accountable.</a:t>
            </a:r>
          </a:p>
          <a:p>
            <a:pPr marL="344488" indent="-344488">
              <a:buFont typeface="Wingdings" panose="05000000000000000000" pitchFamily="2" charset="2"/>
              <a:buChar char="q"/>
            </a:pPr>
            <a:r>
              <a:rPr lang="en-US"/>
              <a:t>We are doing a recommitment to safety – every employee will sign and carry</a:t>
            </a:r>
          </a:p>
        </p:txBody>
      </p:sp>
      <p:sp>
        <p:nvSpPr>
          <p:cNvPr id="4" name="Slide Number Placeholder 3">
            <a:extLst>
              <a:ext uri="{FF2B5EF4-FFF2-40B4-BE49-F238E27FC236}">
                <a16:creationId xmlns:a16="http://schemas.microsoft.com/office/drawing/2014/main" id="{3C67E037-C72A-4F4B-AAC9-EC00DCAE95E5}"/>
              </a:ext>
            </a:extLst>
          </p:cNvPr>
          <p:cNvSpPr>
            <a:spLocks noGrp="1"/>
          </p:cNvSpPr>
          <p:nvPr>
            <p:ph type="sldNum" sz="quarter" idx="4"/>
          </p:nvPr>
        </p:nvSpPr>
        <p:spPr/>
        <p:txBody>
          <a:bodyPr/>
          <a:lstStyle/>
          <a:p>
            <a:fld id="{B5EB69C0-7537-C24C-BC67-8B5F238D9475}" type="slidenum">
              <a:rPr lang="en-US" smtClean="0"/>
              <a:pPr/>
              <a:t>23</a:t>
            </a:fld>
            <a:endParaRPr lang="en-US"/>
          </a:p>
        </p:txBody>
      </p:sp>
      <p:pic>
        <p:nvPicPr>
          <p:cNvPr id="6" name="Picture 5" descr="A yellow and black sign&#10;&#10;Description automatically generated">
            <a:extLst>
              <a:ext uri="{FF2B5EF4-FFF2-40B4-BE49-F238E27FC236}">
                <a16:creationId xmlns:a16="http://schemas.microsoft.com/office/drawing/2014/main" id="{EF4E85D0-C31B-EF38-C322-66E30A6159DB}"/>
              </a:ext>
            </a:extLst>
          </p:cNvPr>
          <p:cNvPicPr>
            <a:picLocks noChangeAspect="1"/>
          </p:cNvPicPr>
          <p:nvPr/>
        </p:nvPicPr>
        <p:blipFill>
          <a:blip r:embed="rId2"/>
          <a:stretch>
            <a:fillRect/>
          </a:stretch>
        </p:blipFill>
        <p:spPr>
          <a:xfrm>
            <a:off x="6916373" y="1519522"/>
            <a:ext cx="3749631" cy="4464423"/>
          </a:xfrm>
          <a:prstGeom prst="rect">
            <a:avLst/>
          </a:prstGeom>
        </p:spPr>
      </p:pic>
    </p:spTree>
    <p:extLst>
      <p:ext uri="{BB962C8B-B14F-4D97-AF65-F5344CB8AC3E}">
        <p14:creationId xmlns:p14="http://schemas.microsoft.com/office/powerpoint/2010/main" val="528327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A49663A-AB02-4518-A78A-A5EEFF54C28A}"/>
              </a:ext>
            </a:extLst>
          </p:cNvPr>
          <p:cNvPicPr>
            <a:picLocks noChangeAspect="1"/>
          </p:cNvPicPr>
          <p:nvPr/>
        </p:nvPicPr>
        <p:blipFill>
          <a:blip r:embed="rId2"/>
          <a:stretch>
            <a:fillRect/>
          </a:stretch>
        </p:blipFill>
        <p:spPr>
          <a:xfrm>
            <a:off x="2060810" y="1393432"/>
            <a:ext cx="7599452" cy="4071135"/>
          </a:xfrm>
          <a:prstGeom prst="rect">
            <a:avLst/>
          </a:prstGeom>
          <a:ln w="28575">
            <a:solidFill>
              <a:schemeClr val="tx1"/>
            </a:solidFill>
          </a:ln>
        </p:spPr>
      </p:pic>
      <p:sp>
        <p:nvSpPr>
          <p:cNvPr id="2" name="TextBox 1">
            <a:extLst>
              <a:ext uri="{FF2B5EF4-FFF2-40B4-BE49-F238E27FC236}">
                <a16:creationId xmlns:a16="http://schemas.microsoft.com/office/drawing/2014/main" id="{998AFC74-0849-42A7-9591-C5F58BC7DAB6}"/>
              </a:ext>
            </a:extLst>
          </p:cNvPr>
          <p:cNvSpPr txBox="1"/>
          <p:nvPr/>
        </p:nvSpPr>
        <p:spPr>
          <a:xfrm>
            <a:off x="605927" y="456118"/>
            <a:ext cx="2667718" cy="584775"/>
          </a:xfrm>
          <a:prstGeom prst="rect">
            <a:avLst/>
          </a:prstGeom>
          <a:noFill/>
        </p:spPr>
        <p:txBody>
          <a:bodyPr wrap="none" rtlCol="0">
            <a:spAutoFit/>
          </a:bodyPr>
          <a:lstStyle/>
          <a:p>
            <a:r>
              <a:rPr lang="en-US" sz="3200" b="1"/>
              <a:t>Safety Share</a:t>
            </a:r>
          </a:p>
        </p:txBody>
      </p:sp>
      <p:sp>
        <p:nvSpPr>
          <p:cNvPr id="3" name="TextBox 2">
            <a:extLst>
              <a:ext uri="{FF2B5EF4-FFF2-40B4-BE49-F238E27FC236}">
                <a16:creationId xmlns:a16="http://schemas.microsoft.com/office/drawing/2014/main" id="{5BA96000-22A7-4DCB-91C0-5B47FEFB105B}"/>
              </a:ext>
            </a:extLst>
          </p:cNvPr>
          <p:cNvSpPr txBox="1"/>
          <p:nvPr/>
        </p:nvSpPr>
        <p:spPr>
          <a:xfrm>
            <a:off x="903383" y="5817106"/>
            <a:ext cx="5001658" cy="523220"/>
          </a:xfrm>
          <a:prstGeom prst="rect">
            <a:avLst/>
          </a:prstGeom>
          <a:noFill/>
        </p:spPr>
        <p:txBody>
          <a:bodyPr wrap="square" rtlCol="0">
            <a:spAutoFit/>
          </a:bodyPr>
          <a:lstStyle/>
          <a:p>
            <a:r>
              <a:rPr lang="en-US" sz="2800" b="1"/>
              <a:t>Auditing and Inspections</a:t>
            </a:r>
          </a:p>
        </p:txBody>
      </p:sp>
      <p:cxnSp>
        <p:nvCxnSpPr>
          <p:cNvPr id="5" name="Straight Arrow Connector 4">
            <a:extLst>
              <a:ext uri="{FF2B5EF4-FFF2-40B4-BE49-F238E27FC236}">
                <a16:creationId xmlns:a16="http://schemas.microsoft.com/office/drawing/2014/main" id="{9822B31F-AC17-4EFA-9444-5777855316E7}"/>
              </a:ext>
            </a:extLst>
          </p:cNvPr>
          <p:cNvCxnSpPr/>
          <p:nvPr/>
        </p:nvCxnSpPr>
        <p:spPr>
          <a:xfrm flipV="1">
            <a:off x="2930487" y="5464567"/>
            <a:ext cx="143219" cy="352539"/>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4989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bulldozer on a dirt road&#10;&#10;Description automatically generated">
            <a:extLst>
              <a:ext uri="{FF2B5EF4-FFF2-40B4-BE49-F238E27FC236}">
                <a16:creationId xmlns:a16="http://schemas.microsoft.com/office/drawing/2014/main" id="{D82472ED-0BF6-4539-85C2-FACAF44DFF9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73149" y="4159957"/>
            <a:ext cx="3267740" cy="2450805"/>
          </a:xfrm>
        </p:spPr>
      </p:pic>
      <p:pic>
        <p:nvPicPr>
          <p:cNvPr id="7" name="Picture 6" descr="A machine with dirt on it&#10;&#10;Description automatically generated with medium confidence">
            <a:extLst>
              <a:ext uri="{FF2B5EF4-FFF2-40B4-BE49-F238E27FC236}">
                <a16:creationId xmlns:a16="http://schemas.microsoft.com/office/drawing/2014/main" id="{1BE8F4EB-C263-4612-98E4-2390346518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1001" y="1559687"/>
            <a:ext cx="3267741" cy="2450806"/>
          </a:xfrm>
          <a:prstGeom prst="rect">
            <a:avLst/>
          </a:prstGeom>
        </p:spPr>
      </p:pic>
      <p:pic>
        <p:nvPicPr>
          <p:cNvPr id="9" name="Picture 8" descr="A construction site with a few trucks and machinery&#10;&#10;Description automatically generated with medium confidence">
            <a:extLst>
              <a:ext uri="{FF2B5EF4-FFF2-40B4-BE49-F238E27FC236}">
                <a16:creationId xmlns:a16="http://schemas.microsoft.com/office/drawing/2014/main" id="{0843540F-9CB3-4DD1-8170-ABDED305B3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236" y="1252944"/>
            <a:ext cx="3876017" cy="2907013"/>
          </a:xfrm>
          <a:prstGeom prst="rect">
            <a:avLst/>
          </a:prstGeom>
        </p:spPr>
      </p:pic>
      <p:sp>
        <p:nvSpPr>
          <p:cNvPr id="10" name="TextBox 9">
            <a:extLst>
              <a:ext uri="{FF2B5EF4-FFF2-40B4-BE49-F238E27FC236}">
                <a16:creationId xmlns:a16="http://schemas.microsoft.com/office/drawing/2014/main" id="{60484115-317F-4934-BCF2-6C9CDB69C097}"/>
              </a:ext>
            </a:extLst>
          </p:cNvPr>
          <p:cNvSpPr txBox="1"/>
          <p:nvPr/>
        </p:nvSpPr>
        <p:spPr>
          <a:xfrm>
            <a:off x="684967" y="4441111"/>
            <a:ext cx="5964865" cy="2246769"/>
          </a:xfrm>
          <a:prstGeom prst="rect">
            <a:avLst/>
          </a:prstGeom>
          <a:noFill/>
        </p:spPr>
        <p:txBody>
          <a:bodyPr wrap="square" rtlCol="0">
            <a:spAutoFit/>
          </a:bodyPr>
          <a:lstStyle/>
          <a:p>
            <a:pPr marL="285750" indent="-285750">
              <a:buFont typeface="Arial" panose="020B0604020202020204" pitchFamily="34" charset="0"/>
              <a:buChar char="•"/>
            </a:pPr>
            <a:r>
              <a:rPr lang="en-US" sz="2000"/>
              <a:t>Increase signage for access heavy equipment routes</a:t>
            </a:r>
          </a:p>
          <a:p>
            <a:pPr marL="285750" indent="-285750">
              <a:buFont typeface="Arial" panose="020B0604020202020204" pitchFamily="34" charset="0"/>
              <a:buChar char="•"/>
            </a:pPr>
            <a:r>
              <a:rPr lang="en-US" sz="2000"/>
              <a:t>Start up alarms</a:t>
            </a:r>
          </a:p>
          <a:p>
            <a:pPr marL="285750" indent="-285750">
              <a:buFont typeface="Arial" panose="020B0604020202020204" pitchFamily="34" charset="0"/>
              <a:buChar char="•"/>
            </a:pPr>
            <a:r>
              <a:rPr lang="en-US" sz="2000"/>
              <a:t>Idler guarding</a:t>
            </a:r>
          </a:p>
          <a:p>
            <a:pPr marL="285750" indent="-285750">
              <a:buFont typeface="Arial" panose="020B0604020202020204" pitchFamily="34" charset="0"/>
              <a:buChar char="•"/>
            </a:pPr>
            <a:r>
              <a:rPr lang="en-US" sz="2000"/>
              <a:t>Additional Water sprays</a:t>
            </a:r>
          </a:p>
          <a:p>
            <a:pPr marL="285750" indent="-285750">
              <a:buFont typeface="Arial" panose="020B0604020202020204" pitchFamily="34" charset="0"/>
              <a:buChar char="•"/>
            </a:pPr>
            <a:r>
              <a:rPr lang="en-US" sz="2000"/>
              <a:t>Access ladders – </a:t>
            </a:r>
          </a:p>
          <a:p>
            <a:pPr marL="285750" indent="-285750">
              <a:buFont typeface="Arial" panose="020B0604020202020204" pitchFamily="34" charset="0"/>
              <a:buChar char="•"/>
            </a:pPr>
            <a:r>
              <a:rPr lang="en-US" sz="2000"/>
              <a:t>Equipment checks</a:t>
            </a:r>
            <a:endParaRPr lang="en-US"/>
          </a:p>
        </p:txBody>
      </p:sp>
      <p:sp>
        <p:nvSpPr>
          <p:cNvPr id="2" name="TextBox 1">
            <a:extLst>
              <a:ext uri="{FF2B5EF4-FFF2-40B4-BE49-F238E27FC236}">
                <a16:creationId xmlns:a16="http://schemas.microsoft.com/office/drawing/2014/main" id="{27F30274-718C-4DD4-8C27-35DA5F70F3AA}"/>
              </a:ext>
            </a:extLst>
          </p:cNvPr>
          <p:cNvSpPr txBox="1"/>
          <p:nvPr/>
        </p:nvSpPr>
        <p:spPr>
          <a:xfrm>
            <a:off x="352540" y="484742"/>
            <a:ext cx="9507556" cy="523220"/>
          </a:xfrm>
          <a:prstGeom prst="rect">
            <a:avLst/>
          </a:prstGeom>
          <a:noFill/>
        </p:spPr>
        <p:txBody>
          <a:bodyPr wrap="square" rtlCol="0">
            <a:spAutoFit/>
          </a:bodyPr>
          <a:lstStyle/>
          <a:p>
            <a:r>
              <a:rPr lang="en-US" sz="2800" b="1"/>
              <a:t>Screening Plant - SWAPP</a:t>
            </a:r>
          </a:p>
        </p:txBody>
      </p:sp>
    </p:spTree>
    <p:extLst>
      <p:ext uri="{BB962C8B-B14F-4D97-AF65-F5344CB8AC3E}">
        <p14:creationId xmlns:p14="http://schemas.microsoft.com/office/powerpoint/2010/main" val="742466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construction vehicle on a bridge&#10;&#10;Description automatically generated">
            <a:extLst>
              <a:ext uri="{FF2B5EF4-FFF2-40B4-BE49-F238E27FC236}">
                <a16:creationId xmlns:a16="http://schemas.microsoft.com/office/drawing/2014/main" id="{5B19504B-A4A9-4916-9211-D835AB1823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29064" y="3077110"/>
            <a:ext cx="4061383" cy="3046037"/>
          </a:xfrm>
          <a:prstGeom prst="rect">
            <a:avLst/>
          </a:prstGeom>
        </p:spPr>
      </p:pic>
      <p:pic>
        <p:nvPicPr>
          <p:cNvPr id="5" name="Picture 4" descr="A construction vehicle on a hill&#10;&#10;Description automatically generated">
            <a:extLst>
              <a:ext uri="{FF2B5EF4-FFF2-40B4-BE49-F238E27FC236}">
                <a16:creationId xmlns:a16="http://schemas.microsoft.com/office/drawing/2014/main" id="{3E5F2748-4B86-4358-A5D3-C7B7797973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2480" y="1660483"/>
            <a:ext cx="5017213" cy="3762910"/>
          </a:xfrm>
          <a:prstGeom prst="rect">
            <a:avLst/>
          </a:prstGeom>
        </p:spPr>
      </p:pic>
      <p:sp>
        <p:nvSpPr>
          <p:cNvPr id="6" name="Rectangle 5">
            <a:extLst>
              <a:ext uri="{FF2B5EF4-FFF2-40B4-BE49-F238E27FC236}">
                <a16:creationId xmlns:a16="http://schemas.microsoft.com/office/drawing/2014/main" id="{2AB17D94-BC44-4FFF-A2C7-ABB123369CEA}"/>
              </a:ext>
            </a:extLst>
          </p:cNvPr>
          <p:cNvSpPr/>
          <p:nvPr/>
        </p:nvSpPr>
        <p:spPr>
          <a:xfrm>
            <a:off x="6709025" y="1940454"/>
            <a:ext cx="1068512" cy="48288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Falling rocks</a:t>
            </a:r>
          </a:p>
        </p:txBody>
      </p:sp>
      <p:cxnSp>
        <p:nvCxnSpPr>
          <p:cNvPr id="8" name="Straight Arrow Connector 7">
            <a:extLst>
              <a:ext uri="{FF2B5EF4-FFF2-40B4-BE49-F238E27FC236}">
                <a16:creationId xmlns:a16="http://schemas.microsoft.com/office/drawing/2014/main" id="{8ACD2348-1B5E-4237-9210-5E707F13F080}"/>
              </a:ext>
            </a:extLst>
          </p:cNvPr>
          <p:cNvCxnSpPr/>
          <p:nvPr/>
        </p:nvCxnSpPr>
        <p:spPr>
          <a:xfrm flipH="1">
            <a:off x="2393879" y="2577451"/>
            <a:ext cx="4222678" cy="189815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0719367-5CD8-42D4-879A-9192F8A28EB1}"/>
              </a:ext>
            </a:extLst>
          </p:cNvPr>
          <p:cNvSpPr/>
          <p:nvPr/>
        </p:nvSpPr>
        <p:spPr>
          <a:xfrm>
            <a:off x="6096000" y="3265820"/>
            <a:ext cx="1897294" cy="31849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Extend barrier </a:t>
            </a:r>
          </a:p>
        </p:txBody>
      </p:sp>
      <p:sp>
        <p:nvSpPr>
          <p:cNvPr id="10" name="Rectangle 9">
            <a:extLst>
              <a:ext uri="{FF2B5EF4-FFF2-40B4-BE49-F238E27FC236}">
                <a16:creationId xmlns:a16="http://schemas.microsoft.com/office/drawing/2014/main" id="{23B1FA2C-6848-4E39-B883-799885F20B26}"/>
              </a:ext>
            </a:extLst>
          </p:cNvPr>
          <p:cNvSpPr/>
          <p:nvPr/>
        </p:nvSpPr>
        <p:spPr>
          <a:xfrm>
            <a:off x="616449" y="6205591"/>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8A3E597-395F-4E5C-A93F-DC372E9195ED}"/>
              </a:ext>
            </a:extLst>
          </p:cNvPr>
          <p:cNvSpPr/>
          <p:nvPr/>
        </p:nvSpPr>
        <p:spPr>
          <a:xfrm>
            <a:off x="4900772" y="4475601"/>
            <a:ext cx="51371" cy="803959"/>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642710AD-08E3-4DE4-97D3-7E826E9730FD}"/>
              </a:ext>
            </a:extLst>
          </p:cNvPr>
          <p:cNvSpPr/>
          <p:nvPr/>
        </p:nvSpPr>
        <p:spPr>
          <a:xfrm>
            <a:off x="2157573" y="4570638"/>
            <a:ext cx="2774023" cy="180163"/>
          </a:xfrm>
          <a:custGeom>
            <a:avLst/>
            <a:gdLst>
              <a:gd name="connsiteX0" fmla="*/ 0 w 2774023"/>
              <a:gd name="connsiteY0" fmla="*/ 0 h 180163"/>
              <a:gd name="connsiteX1" fmla="*/ 174661 w 2774023"/>
              <a:gd name="connsiteY1" fmla="*/ 10274 h 180163"/>
              <a:gd name="connsiteX2" fmla="*/ 287676 w 2774023"/>
              <a:gd name="connsiteY2" fmla="*/ 30822 h 180163"/>
              <a:gd name="connsiteX3" fmla="*/ 318499 w 2774023"/>
              <a:gd name="connsiteY3" fmla="*/ 41097 h 180163"/>
              <a:gd name="connsiteX4" fmla="*/ 482885 w 2774023"/>
              <a:gd name="connsiteY4" fmla="*/ 51371 h 180163"/>
              <a:gd name="connsiteX5" fmla="*/ 595901 w 2774023"/>
              <a:gd name="connsiteY5" fmla="*/ 71919 h 180163"/>
              <a:gd name="connsiteX6" fmla="*/ 863029 w 2774023"/>
              <a:gd name="connsiteY6" fmla="*/ 82193 h 180163"/>
              <a:gd name="connsiteX7" fmla="*/ 1448656 w 2774023"/>
              <a:gd name="connsiteY7" fmla="*/ 92467 h 180163"/>
              <a:gd name="connsiteX8" fmla="*/ 1880171 w 2774023"/>
              <a:gd name="connsiteY8" fmla="*/ 102742 h 180163"/>
              <a:gd name="connsiteX9" fmla="*/ 2003461 w 2774023"/>
              <a:gd name="connsiteY9" fmla="*/ 113016 h 180163"/>
              <a:gd name="connsiteX10" fmla="*/ 2239766 w 2774023"/>
              <a:gd name="connsiteY10" fmla="*/ 143838 h 180163"/>
              <a:gd name="connsiteX11" fmla="*/ 2383605 w 2774023"/>
              <a:gd name="connsiteY11" fmla="*/ 154112 h 180163"/>
              <a:gd name="connsiteX12" fmla="*/ 2445249 w 2774023"/>
              <a:gd name="connsiteY12" fmla="*/ 174661 h 180163"/>
              <a:gd name="connsiteX13" fmla="*/ 2722652 w 2774023"/>
              <a:gd name="connsiteY13" fmla="*/ 154112 h 180163"/>
              <a:gd name="connsiteX14" fmla="*/ 2774023 w 2774023"/>
              <a:gd name="connsiteY14" fmla="*/ 133564 h 18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74023" h="180163">
                <a:moveTo>
                  <a:pt x="0" y="0"/>
                </a:moveTo>
                <a:cubicBezTo>
                  <a:pt x="58220" y="3425"/>
                  <a:pt x="116541" y="5431"/>
                  <a:pt x="174661" y="10274"/>
                </a:cubicBezTo>
                <a:cubicBezTo>
                  <a:pt x="215744" y="13698"/>
                  <a:pt x="249217" y="19833"/>
                  <a:pt x="287676" y="30822"/>
                </a:cubicBezTo>
                <a:cubicBezTo>
                  <a:pt x="298089" y="33797"/>
                  <a:pt x="307728" y="39963"/>
                  <a:pt x="318499" y="41097"/>
                </a:cubicBezTo>
                <a:cubicBezTo>
                  <a:pt x="373100" y="46845"/>
                  <a:pt x="428090" y="47946"/>
                  <a:pt x="482885" y="51371"/>
                </a:cubicBezTo>
                <a:cubicBezTo>
                  <a:pt x="531114" y="67447"/>
                  <a:pt x="525367" y="67770"/>
                  <a:pt x="595901" y="71919"/>
                </a:cubicBezTo>
                <a:cubicBezTo>
                  <a:pt x="684856" y="77152"/>
                  <a:pt x="773946" y="80046"/>
                  <a:pt x="863029" y="82193"/>
                </a:cubicBezTo>
                <a:lnTo>
                  <a:pt x="1448656" y="92467"/>
                </a:lnTo>
                <a:lnTo>
                  <a:pt x="1880171" y="102742"/>
                </a:lnTo>
                <a:cubicBezTo>
                  <a:pt x="1921268" y="106167"/>
                  <a:pt x="1962489" y="108334"/>
                  <a:pt x="2003461" y="113016"/>
                </a:cubicBezTo>
                <a:cubicBezTo>
                  <a:pt x="2082383" y="122036"/>
                  <a:pt x="2160532" y="138179"/>
                  <a:pt x="2239766" y="143838"/>
                </a:cubicBezTo>
                <a:lnTo>
                  <a:pt x="2383605" y="154112"/>
                </a:lnTo>
                <a:cubicBezTo>
                  <a:pt x="2404153" y="160962"/>
                  <a:pt x="2423601" y="173939"/>
                  <a:pt x="2445249" y="174661"/>
                </a:cubicBezTo>
                <a:cubicBezTo>
                  <a:pt x="2649996" y="181486"/>
                  <a:pt x="2620717" y="188089"/>
                  <a:pt x="2722652" y="154112"/>
                </a:cubicBezTo>
                <a:cubicBezTo>
                  <a:pt x="2759173" y="129764"/>
                  <a:pt x="2741126" y="133564"/>
                  <a:pt x="2774023" y="133564"/>
                </a:cubicBezTo>
              </a:path>
            </a:pathLst>
          </a:custGeom>
          <a:noFill/>
          <a:ln w="2857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Arrow Connector 13">
            <a:extLst>
              <a:ext uri="{FF2B5EF4-FFF2-40B4-BE49-F238E27FC236}">
                <a16:creationId xmlns:a16="http://schemas.microsoft.com/office/drawing/2014/main" id="{33421BEC-017A-400E-914C-ED3B84A9C219}"/>
              </a:ext>
            </a:extLst>
          </p:cNvPr>
          <p:cNvCxnSpPr/>
          <p:nvPr/>
        </p:nvCxnSpPr>
        <p:spPr>
          <a:xfrm flipH="1">
            <a:off x="5137079" y="3717883"/>
            <a:ext cx="1746606" cy="852755"/>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500495F-5572-4CFF-AC4D-F625124BFFCD}"/>
              </a:ext>
            </a:extLst>
          </p:cNvPr>
          <p:cNvSpPr txBox="1"/>
          <p:nvPr/>
        </p:nvSpPr>
        <p:spPr>
          <a:xfrm>
            <a:off x="352540" y="484742"/>
            <a:ext cx="9507556" cy="523220"/>
          </a:xfrm>
          <a:prstGeom prst="rect">
            <a:avLst/>
          </a:prstGeom>
          <a:noFill/>
        </p:spPr>
        <p:txBody>
          <a:bodyPr wrap="square" rtlCol="0">
            <a:spAutoFit/>
          </a:bodyPr>
          <a:lstStyle/>
          <a:p>
            <a:r>
              <a:rPr lang="en-US" sz="2800" b="1"/>
              <a:t>Screening Plant - SWAPP</a:t>
            </a:r>
          </a:p>
        </p:txBody>
      </p:sp>
    </p:spTree>
    <p:extLst>
      <p:ext uri="{BB962C8B-B14F-4D97-AF65-F5344CB8AC3E}">
        <p14:creationId xmlns:p14="http://schemas.microsoft.com/office/powerpoint/2010/main" val="720054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2094A-BF89-4BDB-AB51-F1AEC2CEB5C3}"/>
              </a:ext>
            </a:extLst>
          </p:cNvPr>
          <p:cNvSpPr>
            <a:spLocks noGrp="1"/>
          </p:cNvSpPr>
          <p:nvPr>
            <p:ph type="ctrTitle"/>
          </p:nvPr>
        </p:nvSpPr>
        <p:spPr/>
        <p:txBody>
          <a:bodyPr/>
          <a:lstStyle/>
          <a:p>
            <a:r>
              <a:rPr lang="en-US"/>
              <a:t>Environmental Share</a:t>
            </a:r>
            <a:br>
              <a:rPr lang="en-US"/>
            </a:br>
            <a:r>
              <a:rPr lang="en-US" sz="2400"/>
              <a:t>Management of Change</a:t>
            </a:r>
            <a:br>
              <a:rPr lang="en-US" sz="2400"/>
            </a:br>
            <a:r>
              <a:rPr lang="en-US" sz="2400"/>
              <a:t>MOC</a:t>
            </a:r>
            <a:endParaRPr lang="en-US"/>
          </a:p>
        </p:txBody>
      </p:sp>
      <p:sp>
        <p:nvSpPr>
          <p:cNvPr id="3" name="Subtitle 2">
            <a:extLst>
              <a:ext uri="{FF2B5EF4-FFF2-40B4-BE49-F238E27FC236}">
                <a16:creationId xmlns:a16="http://schemas.microsoft.com/office/drawing/2014/main" id="{BE9DD4DE-B768-4877-BBAD-939131D02562}"/>
              </a:ext>
            </a:extLst>
          </p:cNvPr>
          <p:cNvSpPr>
            <a:spLocks noGrp="1"/>
          </p:cNvSpPr>
          <p:nvPr>
            <p:ph type="subTitle" idx="1"/>
          </p:nvPr>
        </p:nvSpPr>
        <p:spPr/>
        <p:txBody>
          <a:bodyPr/>
          <a:lstStyle/>
          <a:p>
            <a:r>
              <a:rPr lang="en-US"/>
              <a:t>August 2023</a:t>
            </a:r>
          </a:p>
        </p:txBody>
      </p:sp>
    </p:spTree>
    <p:extLst>
      <p:ext uri="{BB962C8B-B14F-4D97-AF65-F5344CB8AC3E}">
        <p14:creationId xmlns:p14="http://schemas.microsoft.com/office/powerpoint/2010/main" val="110344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8C3A900-9DEA-9F28-F835-7151761A326F}"/>
              </a:ext>
            </a:extLst>
          </p:cNvPr>
          <p:cNvSpPr/>
          <p:nvPr/>
        </p:nvSpPr>
        <p:spPr>
          <a:xfrm>
            <a:off x="536029" y="4594124"/>
            <a:ext cx="11067391" cy="2123658"/>
          </a:xfrm>
          <a:prstGeom prst="rect">
            <a:avLst/>
          </a:prstGeom>
        </p:spPr>
        <p:txBody>
          <a:bodyPr wrap="square">
            <a:spAutoFit/>
          </a:bodyPr>
          <a:lstStyle/>
          <a:p>
            <a:pPr marL="114300" eaLnBrk="0" hangingPunct="0">
              <a:buClr>
                <a:srgbClr val="CC9900"/>
              </a:buClr>
              <a:defRPr/>
            </a:pPr>
            <a:r>
              <a:rPr lang="en-US" b="1" kern="0">
                <a:latin typeface="Arial" panose="020B0604020202020204" pitchFamily="34" charset="0"/>
                <a:cs typeface="Arial" panose="020B0604020202020204" pitchFamily="34" charset="0"/>
              </a:rPr>
              <a:t>What are some of the events when an MOC should be submitted?</a:t>
            </a:r>
          </a:p>
          <a:p>
            <a:pPr marL="400050" indent="-285750" eaLnBrk="0" hangingPunct="0">
              <a:buClr>
                <a:srgbClr val="CC9900"/>
              </a:buClr>
              <a:buFont typeface="Arial" panose="020B0604020202020204" pitchFamily="34" charset="0"/>
              <a:buChar char="•"/>
              <a:defRPr/>
            </a:pPr>
            <a:r>
              <a:rPr lang="en-US" b="1" kern="0">
                <a:latin typeface="Arial" panose="020B0604020202020204" pitchFamily="34" charset="0"/>
                <a:cs typeface="Arial" panose="020B0604020202020204" pitchFamily="34" charset="0"/>
              </a:rPr>
              <a:t>Use of new chemical for site processes</a:t>
            </a:r>
          </a:p>
          <a:p>
            <a:pPr marL="400050" indent="-285750" eaLnBrk="0" hangingPunct="0">
              <a:buClr>
                <a:srgbClr val="CC9900"/>
              </a:buClr>
              <a:buFont typeface="Arial" panose="020B0604020202020204" pitchFamily="34" charset="0"/>
              <a:buChar char="•"/>
              <a:defRPr/>
            </a:pPr>
            <a:r>
              <a:rPr lang="en-US" b="1" kern="0">
                <a:latin typeface="Arial" panose="020B0604020202020204" pitchFamily="34" charset="0"/>
                <a:cs typeface="Arial" panose="020B0604020202020204" pitchFamily="34" charset="0"/>
              </a:rPr>
              <a:t>New Projects &amp; Expansions:  Plant Engineering and GSC (Notification to Environmental Services)</a:t>
            </a:r>
          </a:p>
          <a:p>
            <a:pPr marL="400050" indent="-285750" eaLnBrk="0" hangingPunct="0">
              <a:buClr>
                <a:srgbClr val="CC9900"/>
              </a:buClr>
              <a:buFont typeface="Arial" panose="020B0604020202020204" pitchFamily="34" charset="0"/>
              <a:buChar char="•"/>
              <a:defRPr/>
            </a:pPr>
            <a:r>
              <a:rPr lang="en-US" b="1" kern="0">
                <a:latin typeface="Arial" panose="020B0604020202020204" pitchFamily="34" charset="0"/>
                <a:cs typeface="Arial" panose="020B0604020202020204" pitchFamily="34" charset="0"/>
              </a:rPr>
              <a:t>Installing new equipment, removing equipment, demolition work, or a change in equipment or process</a:t>
            </a:r>
          </a:p>
          <a:p>
            <a:pPr marL="114300" eaLnBrk="0" hangingPunct="0">
              <a:buClr>
                <a:srgbClr val="CC9900"/>
              </a:buClr>
              <a:defRPr/>
            </a:pPr>
            <a:r>
              <a:rPr lang="en-US" b="1" i="1" kern="0">
                <a:solidFill>
                  <a:srgbClr val="FF0000"/>
                </a:solidFill>
                <a:latin typeface="Arial" panose="020B0604020202020204" pitchFamily="34" charset="0"/>
                <a:cs typeface="Arial" panose="020B0604020202020204" pitchFamily="34" charset="0"/>
              </a:rPr>
              <a:t>		</a:t>
            </a:r>
            <a:r>
              <a:rPr lang="en-US" sz="2400" b="1" i="1" kern="0">
                <a:solidFill>
                  <a:srgbClr val="FF0000"/>
                </a:solidFill>
                <a:latin typeface="Arial" panose="020B0604020202020204" pitchFamily="34" charset="0"/>
                <a:cs typeface="Arial" panose="020B0604020202020204" pitchFamily="34" charset="0"/>
              </a:rPr>
              <a:t>When in doubt “SUBMIT AN MOC”</a:t>
            </a:r>
          </a:p>
        </p:txBody>
      </p:sp>
      <p:sp>
        <p:nvSpPr>
          <p:cNvPr id="4" name="Title 3">
            <a:extLst>
              <a:ext uri="{FF2B5EF4-FFF2-40B4-BE49-F238E27FC236}">
                <a16:creationId xmlns:a16="http://schemas.microsoft.com/office/drawing/2014/main" id="{889F172D-362E-4EEE-BE58-D319D1D3399E}"/>
              </a:ext>
            </a:extLst>
          </p:cNvPr>
          <p:cNvSpPr>
            <a:spLocks noGrp="1"/>
          </p:cNvSpPr>
          <p:nvPr>
            <p:ph type="title"/>
          </p:nvPr>
        </p:nvSpPr>
        <p:spPr>
          <a:xfrm>
            <a:off x="3484383" y="391586"/>
            <a:ext cx="5223235" cy="675389"/>
          </a:xfrm>
        </p:spPr>
        <p:txBody>
          <a:bodyPr/>
          <a:lstStyle/>
          <a:p>
            <a:pPr algn="ctr"/>
            <a:r>
              <a:rPr lang="en-US">
                <a:solidFill>
                  <a:srgbClr val="E18332"/>
                </a:solidFill>
              </a:rPr>
              <a:t>Environmental Share</a:t>
            </a:r>
            <a:br>
              <a:rPr lang="en-US"/>
            </a:br>
            <a:r>
              <a:rPr lang="en-US" sz="1600">
                <a:solidFill>
                  <a:srgbClr val="E18332"/>
                </a:solidFill>
              </a:rPr>
              <a:t>Management of Change (MOC)</a:t>
            </a:r>
          </a:p>
        </p:txBody>
      </p:sp>
      <p:pic>
        <p:nvPicPr>
          <p:cNvPr id="6" name="Picture 5">
            <a:extLst>
              <a:ext uri="{FF2B5EF4-FFF2-40B4-BE49-F238E27FC236}">
                <a16:creationId xmlns:a16="http://schemas.microsoft.com/office/drawing/2014/main" id="{FCE9D046-9B54-457C-506D-3AD32E583194}"/>
              </a:ext>
            </a:extLst>
          </p:cNvPr>
          <p:cNvPicPr>
            <a:picLocks noChangeAspect="1"/>
          </p:cNvPicPr>
          <p:nvPr/>
        </p:nvPicPr>
        <p:blipFill>
          <a:blip r:embed="rId2"/>
          <a:stretch>
            <a:fillRect/>
          </a:stretch>
        </p:blipFill>
        <p:spPr>
          <a:xfrm>
            <a:off x="191815" y="296334"/>
            <a:ext cx="1888067" cy="744182"/>
          </a:xfrm>
          <a:prstGeom prst="rect">
            <a:avLst/>
          </a:prstGeom>
        </p:spPr>
      </p:pic>
      <p:sp>
        <p:nvSpPr>
          <p:cNvPr id="7" name="TextBox 6">
            <a:extLst>
              <a:ext uri="{FF2B5EF4-FFF2-40B4-BE49-F238E27FC236}">
                <a16:creationId xmlns:a16="http://schemas.microsoft.com/office/drawing/2014/main" id="{CECE1C34-0556-9654-5E21-A214D2C5D8BF}"/>
              </a:ext>
            </a:extLst>
          </p:cNvPr>
          <p:cNvSpPr txBox="1"/>
          <p:nvPr/>
        </p:nvSpPr>
        <p:spPr>
          <a:xfrm>
            <a:off x="11133456" y="6497634"/>
            <a:ext cx="1045029" cy="276999"/>
          </a:xfrm>
          <a:prstGeom prst="rect">
            <a:avLst/>
          </a:prstGeom>
          <a:noFill/>
        </p:spPr>
        <p:txBody>
          <a:bodyPr wrap="square" rtlCol="0">
            <a:spAutoFit/>
          </a:bodyPr>
          <a:lstStyle/>
          <a:p>
            <a:r>
              <a:rPr lang="en-US" sz="1200"/>
              <a:t>August 2023</a:t>
            </a:r>
          </a:p>
        </p:txBody>
      </p:sp>
      <p:sp>
        <p:nvSpPr>
          <p:cNvPr id="9" name="Content Placeholder 1">
            <a:extLst>
              <a:ext uri="{FF2B5EF4-FFF2-40B4-BE49-F238E27FC236}">
                <a16:creationId xmlns:a16="http://schemas.microsoft.com/office/drawing/2014/main" id="{C27DE766-D136-FF62-80C4-9156FA56347A}"/>
              </a:ext>
            </a:extLst>
          </p:cNvPr>
          <p:cNvSpPr>
            <a:spLocks noGrp="1"/>
          </p:cNvSpPr>
          <p:nvPr>
            <p:ph idx="1"/>
          </p:nvPr>
        </p:nvSpPr>
        <p:spPr>
          <a:xfrm>
            <a:off x="536029" y="1398712"/>
            <a:ext cx="6832882" cy="2961500"/>
          </a:xfrm>
        </p:spPr>
        <p:txBody>
          <a:bodyPr/>
          <a:lstStyle/>
          <a:p>
            <a:pPr marL="0" indent="0" eaLnBrk="0" hangingPunct="0">
              <a:buClr>
                <a:srgbClr val="CC9900"/>
              </a:buClr>
              <a:buNone/>
              <a:defRPr/>
            </a:pPr>
            <a:r>
              <a:rPr lang="en-US" sz="1800" b="1"/>
              <a:t>What is Management of Change (MOC) Process:</a:t>
            </a:r>
          </a:p>
          <a:p>
            <a:pPr marL="114300" eaLnBrk="0" hangingPunct="0">
              <a:buClr>
                <a:srgbClr val="CC9900"/>
              </a:buClr>
              <a:defRPr/>
            </a:pPr>
            <a:r>
              <a:rPr lang="en-US" sz="1800"/>
              <a:t>A multi-disciplinary review tool to ensure projects move forward with the review of all necessary parties</a:t>
            </a:r>
          </a:p>
          <a:p>
            <a:pPr marL="0" indent="0" eaLnBrk="0" hangingPunct="0">
              <a:buClr>
                <a:srgbClr val="CC9900"/>
              </a:buClr>
              <a:buNone/>
              <a:defRPr/>
            </a:pPr>
            <a:r>
              <a:rPr lang="en-US" sz="1800" b="1"/>
              <a:t>Why should we submit an MOC:</a:t>
            </a:r>
          </a:p>
          <a:p>
            <a:pPr eaLnBrk="0" hangingPunct="0">
              <a:buClr>
                <a:srgbClr val="CC9900"/>
              </a:buClr>
              <a:defRPr/>
            </a:pPr>
            <a:r>
              <a:rPr lang="en-US" sz="1800"/>
              <a:t>To evaluate process and/or site changes and to inform of any changes ahead</a:t>
            </a:r>
          </a:p>
          <a:p>
            <a:pPr eaLnBrk="0" hangingPunct="0">
              <a:buClr>
                <a:srgbClr val="CC9900"/>
              </a:buClr>
              <a:defRPr/>
            </a:pPr>
            <a:r>
              <a:rPr lang="en-US" sz="1800"/>
              <a:t>To ensure compliance with legal, permitting and other requirements and to identify any other potential issues</a:t>
            </a:r>
          </a:p>
        </p:txBody>
      </p:sp>
      <p:pic>
        <p:nvPicPr>
          <p:cNvPr id="11" name="Picture 10" descr="Engineers with digital tablet and blueprints in a factory">
            <a:extLst>
              <a:ext uri="{FF2B5EF4-FFF2-40B4-BE49-F238E27FC236}">
                <a16:creationId xmlns:a16="http://schemas.microsoft.com/office/drawing/2014/main" id="{DE4BCEA7-E3D0-C3A7-315E-85AE8037D272}"/>
              </a:ext>
            </a:extLst>
          </p:cNvPr>
          <p:cNvPicPr>
            <a:picLocks noChangeAspect="1"/>
          </p:cNvPicPr>
          <p:nvPr/>
        </p:nvPicPr>
        <p:blipFill>
          <a:blip r:embed="rId3"/>
          <a:stretch>
            <a:fillRect/>
          </a:stretch>
        </p:blipFill>
        <p:spPr>
          <a:xfrm>
            <a:off x="7996697" y="1665999"/>
            <a:ext cx="3136759" cy="2090969"/>
          </a:xfrm>
          <a:prstGeom prst="rect">
            <a:avLst/>
          </a:prstGeom>
        </p:spPr>
      </p:pic>
      <p:sp>
        <p:nvSpPr>
          <p:cNvPr id="12" name="TextBox 11">
            <a:extLst>
              <a:ext uri="{FF2B5EF4-FFF2-40B4-BE49-F238E27FC236}">
                <a16:creationId xmlns:a16="http://schemas.microsoft.com/office/drawing/2014/main" id="{22C5939A-FA09-654E-820C-7E5EE3816BD6}"/>
              </a:ext>
            </a:extLst>
          </p:cNvPr>
          <p:cNvSpPr txBox="1"/>
          <p:nvPr/>
        </p:nvSpPr>
        <p:spPr>
          <a:xfrm>
            <a:off x="8333176" y="3806214"/>
            <a:ext cx="2463800" cy="369332"/>
          </a:xfrm>
          <a:prstGeom prst="rect">
            <a:avLst/>
          </a:prstGeom>
          <a:noFill/>
        </p:spPr>
        <p:txBody>
          <a:bodyPr wrap="square" rtlCol="0">
            <a:spAutoFit/>
          </a:bodyPr>
          <a:lstStyle/>
          <a:p>
            <a:r>
              <a:rPr lang="en-US" b="1" i="1">
                <a:latin typeface="+mj-lt"/>
              </a:rPr>
              <a:t>REFER TO BMP 900</a:t>
            </a:r>
          </a:p>
        </p:txBody>
      </p:sp>
    </p:spTree>
    <p:extLst>
      <p:ext uri="{BB962C8B-B14F-4D97-AF65-F5344CB8AC3E}">
        <p14:creationId xmlns:p14="http://schemas.microsoft.com/office/powerpoint/2010/main" val="1746354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FF9C21-0075-4C25-AFD8-A9076759F5B0}"/>
              </a:ext>
            </a:extLst>
          </p:cNvPr>
          <p:cNvSpPr>
            <a:spLocks noGrp="1"/>
          </p:cNvSpPr>
          <p:nvPr>
            <p:ph type="ctrTitle"/>
          </p:nvPr>
        </p:nvSpPr>
        <p:spPr/>
        <p:txBody>
          <a:bodyPr/>
          <a:lstStyle/>
          <a:p>
            <a:r>
              <a:rPr lang="en-US"/>
              <a:t>FCX Safety Incidents, Successes, &amp; Alerts</a:t>
            </a:r>
          </a:p>
        </p:txBody>
      </p:sp>
      <p:sp>
        <p:nvSpPr>
          <p:cNvPr id="4" name="Slide Number Placeholder 3">
            <a:extLst>
              <a:ext uri="{FF2B5EF4-FFF2-40B4-BE49-F238E27FC236}">
                <a16:creationId xmlns:a16="http://schemas.microsoft.com/office/drawing/2014/main" id="{BA888A21-8D40-4762-A810-25E547040EF3}"/>
              </a:ext>
            </a:extLst>
          </p:cNvPr>
          <p:cNvSpPr>
            <a:spLocks noGrp="1"/>
          </p:cNvSpPr>
          <p:nvPr>
            <p:ph type="sldNum" sz="quarter" idx="4"/>
          </p:nvPr>
        </p:nvSpPr>
        <p:spPr/>
        <p:txBody>
          <a:bodyPr/>
          <a:lstStyle/>
          <a:p>
            <a:fld id="{B5EB69C0-7537-C24C-BC67-8B5F238D9475}" type="slidenum">
              <a:rPr lang="en-US" smtClean="0"/>
              <a:pPr/>
              <a:t>8</a:t>
            </a:fld>
            <a:endParaRPr lang="en-US"/>
          </a:p>
        </p:txBody>
      </p:sp>
    </p:spTree>
    <p:extLst>
      <p:ext uri="{BB962C8B-B14F-4D97-AF65-F5344CB8AC3E}">
        <p14:creationId xmlns:p14="http://schemas.microsoft.com/office/powerpoint/2010/main" val="3517751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016048"/>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7257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72577">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err="1">
                          <a:latin typeface="Arial" panose="020B0604020202020204" pitchFamily="34" charset="0"/>
                          <a:cs typeface="Arial" panose="020B0604020202020204" pitchFamily="34" charset="0"/>
                        </a:rPr>
                        <a:t>Sierrita</a:t>
                      </a:r>
                      <a:r>
                        <a:rPr lang="en-US" sz="1400">
                          <a:latin typeface="Arial" panose="020B0604020202020204" pitchFamily="34" charset="0"/>
                          <a:cs typeface="Arial" panose="020B0604020202020204" pitchFamily="34" charset="0"/>
                        </a:rPr>
                        <a:t>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72577">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June 29, 2023 / 9:15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72577">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717494">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Arial" panose="020B0604020202020204" pitchFamily="34" charset="0"/>
                          <a:ea typeface="+mn-ea"/>
                          <a:cs typeface="Arial" panose="020B0604020202020204" pitchFamily="34" charset="0"/>
                        </a:rPr>
                        <a:t>A Grove crane tipped over while installing a door to a copper/molybdenum thickener.</a:t>
                      </a:r>
                      <a:endParaRPr lang="en-US" sz="1400" b="0" i="0" u="none" strike="noStrike"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72577">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72577">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72577">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panose="020B0604020202020204" pitchFamily="34" charset="0"/>
                          <a:cs typeface="Arial" panose="020B0604020202020204" pitchFamily="34" charset="0"/>
                        </a:rPr>
                        <a:t>Significant (3) Likely (3)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84350">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a:solidFill>
                            <a:schemeClr val="dk1"/>
                          </a:solidFill>
                          <a:latin typeface="Arial" panose="020B0604020202020204" pitchFamily="34" charset="0"/>
                          <a:ea typeface="+mn-ea"/>
                          <a:cs typeface="Arial" panose="020B0604020202020204" pitchFamily="34" charset="0"/>
                        </a:rPr>
                        <a:t>Inadequate/Incorrect Lift Pla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84350">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panose="020B0604020202020204" pitchFamily="34" charset="0"/>
                          <a:ea typeface="+mn-ea"/>
                          <a:cs typeface="Arial" panose="020B0604020202020204" pitchFamily="34" charset="0"/>
                        </a:rPr>
                        <a:t>Crane and Rigging Polic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7257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49238">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Kyle Silvester, Mill Superintendent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798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1648208"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Crane Tip Over</a:t>
            </a:r>
          </a:p>
        </p:txBody>
      </p:sp>
      <p:pic>
        <p:nvPicPr>
          <p:cNvPr id="10" name="Picture 2">
            <a:extLst>
              <a:ext uri="{FF2B5EF4-FFF2-40B4-BE49-F238E27FC236}">
                <a16:creationId xmlns:a16="http://schemas.microsoft.com/office/drawing/2014/main" id="{25B717E8-CF07-424D-86B2-6BE10E0B6E3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3542"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CDA62808-13C7-4B1C-9AF6-BDD73CE3D29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16716" y="1393310"/>
            <a:ext cx="2829091" cy="2783861"/>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C2CBC050-B2DE-4557-B67D-88D936AD72D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79366" y="1393310"/>
            <a:ext cx="2829091" cy="278386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A4B543D3-3843-4DBC-AD3E-A421AAE04A8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16716" y="4054242"/>
            <a:ext cx="2762650" cy="2598805"/>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a:extLst>
              <a:ext uri="{FF2B5EF4-FFF2-40B4-BE49-F238E27FC236}">
                <a16:creationId xmlns:a16="http://schemas.microsoft.com/office/drawing/2014/main" id="{EE567EB5-08BD-402D-BD34-B1627E22E0F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79365" y="4054242"/>
            <a:ext cx="2862313" cy="2598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7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5ba0a33-b247-4d4b-b9ae-c709af684fd3" xsi:nil="true"/>
    <_ip_UnifiedCompliancePolicyUIAction xmlns="http://schemas.microsoft.com/sharepoint/v3" xsi:nil="true"/>
    <_ip_UnifiedCompliancePolicyProperties xmlns="http://schemas.microsoft.com/sharepoint/v3" xsi:nil="true"/>
    <lcf76f155ced4ddcb4097134ff3c332f xmlns="07c460dd-b363-4ccf-aeb4-b07e4f1c588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4853CCBCEE8A4C8506D1FCAF4BCD6D" ma:contentTypeVersion="19" ma:contentTypeDescription="Create a new document." ma:contentTypeScope="" ma:versionID="d9c76f036e03d4cf2fb7af1902d7dacf">
  <xsd:schema xmlns:xsd="http://www.w3.org/2001/XMLSchema" xmlns:xs="http://www.w3.org/2001/XMLSchema" xmlns:p="http://schemas.microsoft.com/office/2006/metadata/properties" xmlns:ns1="http://schemas.microsoft.com/sharepoint/v3" xmlns:ns2="07c460dd-b363-4ccf-aeb4-b07e4f1c5885" xmlns:ns3="b5ba0a33-b247-4d4b-b9ae-c709af684fd3" xmlns:ns4="9cefc8c9-b73b-41a2-abfc-fc9971e4c0ca" targetNamespace="http://schemas.microsoft.com/office/2006/metadata/properties" ma:root="true" ma:fieldsID="a93b3e5f5876d1a53eeb3f465f54d989" ns1:_="" ns2:_="" ns3:_="" ns4:_="">
    <xsd:import namespace="http://schemas.microsoft.com/sharepoint/v3"/>
    <xsd:import namespace="07c460dd-b363-4ccf-aeb4-b07e4f1c5885"/>
    <xsd:import namespace="b5ba0a33-b247-4d4b-b9ae-c709af684fd3"/>
    <xsd:import namespace="9cefc8c9-b73b-41a2-abfc-fc9971e4c0c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LengthInSeconds" minOccurs="0"/>
                <xsd:element ref="ns2:lcf76f155ced4ddcb4097134ff3c332f" minOccurs="0"/>
                <xsd:element ref="ns3:TaxCatchAll" minOccurs="0"/>
                <xsd:element ref="ns4:SharedWithUsers" minOccurs="0"/>
                <xsd:element ref="ns4:SharedWithDetails"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460dd-b363-4ccf-aeb4-b07e4f1c58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9173c0af-493d-4d85-9cab-2467bd28208e}" ma:internalName="TaxCatchAll" ma:showField="CatchAllData" ma:web="9cefc8c9-b73b-41a2-abfc-fc9971e4c0c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cefc8c9-b73b-41a2-abfc-fc9971e4c0ca"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2.xml><?xml version="1.0" encoding="utf-8"?>
<ds:datastoreItem xmlns:ds="http://schemas.openxmlformats.org/officeDocument/2006/customXml" ds:itemID="{16EF08CE-F0D8-4F60-914A-EB8892FBFAD8}">
  <ds:schemaRefs>
    <ds:schemaRef ds:uri="07c460dd-b363-4ccf-aeb4-b07e4f1c5885"/>
    <ds:schemaRef ds:uri="9cefc8c9-b73b-41a2-abfc-fc9971e4c0ca"/>
    <ds:schemaRef ds:uri="b5ba0a33-b247-4d4b-b9ae-c709af684fd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4488C59-E32F-452E-B577-F57EFB652073}">
  <ds:schemaRefs>
    <ds:schemaRef ds:uri="07c460dd-b363-4ccf-aeb4-b07e4f1c5885"/>
    <ds:schemaRef ds:uri="9cefc8c9-b73b-41a2-abfc-fc9971e4c0ca"/>
    <ds:schemaRef ds:uri="b5ba0a33-b247-4d4b-b9ae-c709af684f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3</Slides>
  <Notes>5</Notes>
  <HiddenSlides>0</HiddenSlide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1_Office Theme</vt:lpstr>
      <vt:lpstr>WELCOME! August Contractor Safety Meeting</vt:lpstr>
      <vt:lpstr>Agenda </vt:lpstr>
      <vt:lpstr>PowerPoint Presentation</vt:lpstr>
      <vt:lpstr>PowerPoint Presentation</vt:lpstr>
      <vt:lpstr>PowerPoint Presentation</vt:lpstr>
      <vt:lpstr>Environmental Share Management of Change MOC</vt:lpstr>
      <vt:lpstr>Environmental Share Management of Change (MOC)</vt:lpstr>
      <vt:lpstr>FCX Safety Incidents, Successes, &amp; Alerts</vt:lpstr>
      <vt:lpstr>Crane Tip Over</vt:lpstr>
      <vt:lpstr>Fall of Loose Tramex to Lower Level</vt:lpstr>
      <vt:lpstr>Haul Truck Drives through Berm</vt:lpstr>
      <vt:lpstr>Brush Fire Caused By Dozer Spark</vt:lpstr>
      <vt:lpstr>Employee in Wrong Spot at Fuel Dock</vt:lpstr>
      <vt:lpstr>Shovel Contacts Power Lines</vt:lpstr>
      <vt:lpstr>Employee Injured By Skid Steer</vt:lpstr>
      <vt:lpstr>Near Miss Clinic Remodel  Initial Learnings</vt:lpstr>
      <vt:lpstr>Morenci TRIR</vt:lpstr>
      <vt:lpstr>Contractor TRIR</vt:lpstr>
      <vt:lpstr>Heinrich Pyramid</vt:lpstr>
      <vt:lpstr>Safety Acknowledgements </vt:lpstr>
      <vt:lpstr>Safety Process Checks</vt:lpstr>
      <vt:lpstr>FRM Booklets</vt:lpstr>
      <vt:lpstr>Safety Commitment Card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revision>1</cp:revision>
  <dcterms:created xsi:type="dcterms:W3CDTF">2022-01-20T21:24:06Z</dcterms:created>
  <dcterms:modified xsi:type="dcterms:W3CDTF">2023-08-08T04: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46829DE55437B147B48D1766376E3D6B00B88FBAAEE5C20C4C9D69FB6CE39CD566</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ies>
</file>